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theme/theme3.xml" ContentType="application/vnd.openxmlformats-officedocument.them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heme/theme4.xml" ContentType="application/vnd.openxmlformats-officedocument.theme+xml"/>
  <Override PartName="/ppt/tags/tag448.xml" ContentType="application/vnd.openxmlformats-officedocument.presentationml.tags+xml"/>
  <Override PartName="/ppt/notesSlides/notesSlide1.xml" ContentType="application/vnd.openxmlformats-officedocument.presentationml.notesSlide+xml"/>
  <Override PartName="/ppt/tags/tag44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app0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openxmlformats.org/package/2006/relationships/metadata/extended-properties" Target="docProps/app0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4"/>
    <p:sldMasterId id="2147483727" r:id="rId5"/>
    <p:sldMasterId id="2147483791" r:id="rId6"/>
  </p:sldMasterIdLst>
  <p:notesMasterIdLst>
    <p:notesMasterId r:id="rId17"/>
  </p:notesMasterIdLst>
  <p:sldIdLst>
    <p:sldId id="276" r:id="rId7"/>
    <p:sldId id="2147481546" r:id="rId8"/>
    <p:sldId id="2147481236" r:id="rId9"/>
    <p:sldId id="2147481543" r:id="rId10"/>
    <p:sldId id="2147481541" r:id="rId11"/>
    <p:sldId id="2145706009" r:id="rId12"/>
    <p:sldId id="2147481537" r:id="rId13"/>
    <p:sldId id="2147481542" r:id="rId14"/>
    <p:sldId id="2147481538" r:id="rId15"/>
    <p:sldId id="2147481545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DE10A0-1A3E-65F5-B903-DDE60E8EEC8B}" name="PEZZOLI, Lorenzo" initials="PL" userId="S::pezzolil@who.int::258dc7dc-b4f0-4e13-9e77-d9b9efc8012f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CH, Louise Jocelyn" initials="LLJ" lastIdx="1" clrIdx="0">
    <p:extLst>
      <p:ext uri="{19B8F6BF-5375-455C-9EA6-DF929625EA0E}">
        <p15:presenceInfo xmlns:p15="http://schemas.microsoft.com/office/powerpoint/2012/main" userId="S::leechl@who.int::c13c702c-5f8e-4835-b688-f07c04c3f838" providerId="AD"/>
      </p:ext>
    </p:extLst>
  </p:cmAuthor>
  <p:cmAuthor id="2" name="GARNIER, Sandra" initials="GS" lastIdx="4" clrIdx="1">
    <p:extLst>
      <p:ext uri="{19B8F6BF-5375-455C-9EA6-DF929625EA0E}">
        <p15:presenceInfo xmlns:p15="http://schemas.microsoft.com/office/powerpoint/2012/main" userId="S::garniers@who.int::c2bf9f8b-b87d-4fa5-b1da-1bd890eb83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6666"/>
    <a:srgbClr val="339966"/>
    <a:srgbClr val="009999"/>
    <a:srgbClr val="0066CC"/>
    <a:srgbClr val="3333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008DD4-B4CA-4493-8138-6307C424480B}" v="22" dt="2024-09-08T16:54:24.7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92" autoAdjust="0"/>
    <p:restoredTop sz="86292" autoAdjust="0"/>
  </p:normalViewPr>
  <p:slideViewPr>
    <p:cSldViewPr snapToGrid="0" snapToObjects="1">
      <p:cViewPr varScale="1">
        <p:scale>
          <a:sx n="55" d="100"/>
          <a:sy n="55" d="100"/>
        </p:scale>
        <p:origin x="600" y="3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504" d="625"/>
        <a:sy n="504" d="625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notesMaster" Target="notesMasters/notes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OWELL, Scott, Ferris" userId="12435db6-2802-4a11-a8e1-aaa3dc12efdc" providerId="ADAL" clId="{A9008DD4-B4CA-4493-8138-6307C424480B}"/>
    <pc:docChg chg="undo redo custSel addSld delSld modSld sldOrd">
      <pc:chgData name="DOWELL, Scott, Ferris" userId="12435db6-2802-4a11-a8e1-aaa3dc12efdc" providerId="ADAL" clId="{A9008DD4-B4CA-4493-8138-6307C424480B}" dt="2024-09-09T00:08:53.659" v="1083" actId="20577"/>
      <pc:docMkLst>
        <pc:docMk/>
      </pc:docMkLst>
      <pc:sldChg chg="modSp mod">
        <pc:chgData name="DOWELL, Scott, Ferris" userId="12435db6-2802-4a11-a8e1-aaa3dc12efdc" providerId="ADAL" clId="{A9008DD4-B4CA-4493-8138-6307C424480B}" dt="2024-09-09T00:08:53.659" v="1083" actId="20577"/>
        <pc:sldMkLst>
          <pc:docMk/>
          <pc:sldMk cId="55390441" sldId="276"/>
        </pc:sldMkLst>
        <pc:spChg chg="mod">
          <ac:chgData name="DOWELL, Scott, Ferris" userId="12435db6-2802-4a11-a8e1-aaa3dc12efdc" providerId="ADAL" clId="{A9008DD4-B4CA-4493-8138-6307C424480B}" dt="2024-09-09T00:08:53.659" v="1083" actId="20577"/>
          <ac:spMkLst>
            <pc:docMk/>
            <pc:sldMk cId="55390441" sldId="276"/>
            <ac:spMk id="4" creationId="{B021A104-8842-C81D-3FA4-09299ED34577}"/>
          </ac:spMkLst>
        </pc:spChg>
      </pc:sldChg>
      <pc:sldChg chg="del">
        <pc:chgData name="DOWELL, Scott, Ferris" userId="12435db6-2802-4a11-a8e1-aaa3dc12efdc" providerId="ADAL" clId="{A9008DD4-B4CA-4493-8138-6307C424480B}" dt="2024-09-08T15:37:10.775" v="139" actId="2696"/>
        <pc:sldMkLst>
          <pc:docMk/>
          <pc:sldMk cId="1206624115" sldId="2147481021"/>
        </pc:sldMkLst>
      </pc:sldChg>
      <pc:sldChg chg="modSp add del mod">
        <pc:chgData name="DOWELL, Scott, Ferris" userId="12435db6-2802-4a11-a8e1-aaa3dc12efdc" providerId="ADAL" clId="{A9008DD4-B4CA-4493-8138-6307C424480B}" dt="2024-09-08T22:40:55.095" v="1035" actId="47"/>
        <pc:sldMkLst>
          <pc:docMk/>
          <pc:sldMk cId="720943946" sldId="2147481236"/>
        </pc:sldMkLst>
        <pc:spChg chg="mod">
          <ac:chgData name="DOWELL, Scott, Ferris" userId="12435db6-2802-4a11-a8e1-aaa3dc12efdc" providerId="ADAL" clId="{A9008DD4-B4CA-4493-8138-6307C424480B}" dt="2024-09-08T15:36:06.913" v="138" actId="20577"/>
          <ac:spMkLst>
            <pc:docMk/>
            <pc:sldMk cId="720943946" sldId="2147481236"/>
            <ac:spMk id="15" creationId="{A17909F5-7082-A50F-1B68-6FB9E34D4C0F}"/>
          </ac:spMkLst>
        </pc:spChg>
      </pc:sldChg>
      <pc:sldChg chg="del">
        <pc:chgData name="DOWELL, Scott, Ferris" userId="12435db6-2802-4a11-a8e1-aaa3dc12efdc" providerId="ADAL" clId="{A9008DD4-B4CA-4493-8138-6307C424480B}" dt="2024-09-08T16:01:10.633" v="287" actId="47"/>
        <pc:sldMkLst>
          <pc:docMk/>
          <pc:sldMk cId="1310971662" sldId="2147481540"/>
        </pc:sldMkLst>
      </pc:sldChg>
      <pc:sldChg chg="modSp mod">
        <pc:chgData name="DOWELL, Scott, Ferris" userId="12435db6-2802-4a11-a8e1-aaa3dc12efdc" providerId="ADAL" clId="{A9008DD4-B4CA-4493-8138-6307C424480B}" dt="2024-09-08T16:13:37.437" v="549" actId="20577"/>
        <pc:sldMkLst>
          <pc:docMk/>
          <pc:sldMk cId="1722313143" sldId="2147481542"/>
        </pc:sldMkLst>
        <pc:spChg chg="mod">
          <ac:chgData name="DOWELL, Scott, Ferris" userId="12435db6-2802-4a11-a8e1-aaa3dc12efdc" providerId="ADAL" clId="{A9008DD4-B4CA-4493-8138-6307C424480B}" dt="2024-09-08T16:13:37.437" v="549" actId="20577"/>
          <ac:spMkLst>
            <pc:docMk/>
            <pc:sldMk cId="1722313143" sldId="2147481542"/>
            <ac:spMk id="8" creationId="{3A6D5F80-18A9-4BFE-8ED0-D4BE9B926AF6}"/>
          </ac:spMkLst>
        </pc:spChg>
      </pc:sldChg>
      <pc:sldChg chg="add del">
        <pc:chgData name="DOWELL, Scott, Ferris" userId="12435db6-2802-4a11-a8e1-aaa3dc12efdc" providerId="ADAL" clId="{A9008DD4-B4CA-4493-8138-6307C424480B}" dt="2024-09-08T22:40:52.913" v="1034" actId="47"/>
        <pc:sldMkLst>
          <pc:docMk/>
          <pc:sldMk cId="2106137330" sldId="2147481543"/>
        </pc:sldMkLst>
      </pc:sldChg>
      <pc:sldChg chg="modSp add del mod">
        <pc:chgData name="DOWELL, Scott, Ferris" userId="12435db6-2802-4a11-a8e1-aaa3dc12efdc" providerId="ADAL" clId="{A9008DD4-B4CA-4493-8138-6307C424480B}" dt="2024-09-08T16:28:15.483" v="622" actId="2696"/>
        <pc:sldMkLst>
          <pc:docMk/>
          <pc:sldMk cId="4247423474" sldId="2147481544"/>
        </pc:sldMkLst>
        <pc:spChg chg="mod">
          <ac:chgData name="DOWELL, Scott, Ferris" userId="12435db6-2802-4a11-a8e1-aaa3dc12efdc" providerId="ADAL" clId="{A9008DD4-B4CA-4493-8138-6307C424480B}" dt="2024-09-08T15:11:59.333" v="119" actId="20577"/>
          <ac:spMkLst>
            <pc:docMk/>
            <pc:sldMk cId="4247423474" sldId="2147481544"/>
            <ac:spMk id="2" creationId="{0F53483E-934F-7853-B1A5-A84709463295}"/>
          </ac:spMkLst>
        </pc:spChg>
      </pc:sldChg>
      <pc:sldChg chg="modSp add mod ord">
        <pc:chgData name="DOWELL, Scott, Ferris" userId="12435db6-2802-4a11-a8e1-aaa3dc12efdc" providerId="ADAL" clId="{A9008DD4-B4CA-4493-8138-6307C424480B}" dt="2024-09-08T16:54:50.959" v="1020" actId="20577"/>
        <pc:sldMkLst>
          <pc:docMk/>
          <pc:sldMk cId="906895503" sldId="2147481545"/>
        </pc:sldMkLst>
        <pc:spChg chg="mod">
          <ac:chgData name="DOWELL, Scott, Ferris" userId="12435db6-2802-4a11-a8e1-aaa3dc12efdc" providerId="ADAL" clId="{A9008DD4-B4CA-4493-8138-6307C424480B}" dt="2024-09-08T16:48:16.214" v="774" actId="20577"/>
          <ac:spMkLst>
            <pc:docMk/>
            <pc:sldMk cId="906895503" sldId="2147481545"/>
            <ac:spMk id="2" creationId="{0F53483E-934F-7853-B1A5-A84709463295}"/>
          </ac:spMkLst>
        </pc:spChg>
        <pc:spChg chg="mod">
          <ac:chgData name="DOWELL, Scott, Ferris" userId="12435db6-2802-4a11-a8e1-aaa3dc12efdc" providerId="ADAL" clId="{A9008DD4-B4CA-4493-8138-6307C424480B}" dt="2024-09-08T16:54:50.959" v="1020" actId="20577"/>
          <ac:spMkLst>
            <pc:docMk/>
            <pc:sldMk cId="906895503" sldId="2147481545"/>
            <ac:spMk id="5" creationId="{753CA436-CF7B-4BA3-A083-550CCE5C427F}"/>
          </ac:spMkLst>
        </pc:spChg>
      </pc:sldChg>
      <pc:sldChg chg="modSp add del mod ord">
        <pc:chgData name="DOWELL, Scott, Ferris" userId="12435db6-2802-4a11-a8e1-aaa3dc12efdc" providerId="ADAL" clId="{A9008DD4-B4CA-4493-8138-6307C424480B}" dt="2024-09-08T22:43:14.036" v="1081" actId="20577"/>
        <pc:sldMkLst>
          <pc:docMk/>
          <pc:sldMk cId="1550495007" sldId="2147481546"/>
        </pc:sldMkLst>
        <pc:spChg chg="mod">
          <ac:chgData name="DOWELL, Scott, Ferris" userId="12435db6-2802-4a11-a8e1-aaa3dc12efdc" providerId="ADAL" clId="{A9008DD4-B4CA-4493-8138-6307C424480B}" dt="2024-09-08T16:10:17.332" v="522" actId="20577"/>
          <ac:spMkLst>
            <pc:docMk/>
            <pc:sldMk cId="1550495007" sldId="2147481546"/>
            <ac:spMk id="2" creationId="{0F53483E-934F-7853-B1A5-A84709463295}"/>
          </ac:spMkLst>
        </pc:spChg>
        <pc:spChg chg="mod">
          <ac:chgData name="DOWELL, Scott, Ferris" userId="12435db6-2802-4a11-a8e1-aaa3dc12efdc" providerId="ADAL" clId="{A9008DD4-B4CA-4493-8138-6307C424480B}" dt="2024-09-08T22:43:14.036" v="1081" actId="20577"/>
          <ac:spMkLst>
            <pc:docMk/>
            <pc:sldMk cId="1550495007" sldId="2147481546"/>
            <ac:spMk id="5" creationId="{753CA436-CF7B-4BA3-A083-550CCE5C427F}"/>
          </ac:spMkLst>
        </pc:spChg>
      </pc:sldChg>
      <pc:sldMasterChg chg="delSldLayout">
        <pc:chgData name="DOWELL, Scott, Ferris" userId="12435db6-2802-4a11-a8e1-aaa3dc12efdc" providerId="ADAL" clId="{A9008DD4-B4CA-4493-8138-6307C424480B}" dt="2024-09-08T15:37:10.775" v="139" actId="2696"/>
        <pc:sldMasterMkLst>
          <pc:docMk/>
          <pc:sldMasterMk cId="3660840665" sldId="2147483711"/>
        </pc:sldMasterMkLst>
        <pc:sldLayoutChg chg="del">
          <pc:chgData name="DOWELL, Scott, Ferris" userId="12435db6-2802-4a11-a8e1-aaa3dc12efdc" providerId="ADAL" clId="{A9008DD4-B4CA-4493-8138-6307C424480B}" dt="2024-09-08T15:37:10.775" v="139" actId="2696"/>
          <pc:sldLayoutMkLst>
            <pc:docMk/>
            <pc:sldMasterMk cId="3660840665" sldId="2147483711"/>
            <pc:sldLayoutMk cId="3748152534" sldId="2147483790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B3DDF-AD5D-48C2-8F26-790C34EA6669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810A19-41D1-46CA-A730-7DD14B6DB60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62569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66688" y="579438"/>
            <a:ext cx="6672262" cy="3752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ED875-7CA7-4683-B586-34E1A4A09D1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5928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810A19-41D1-46CA-A730-7DD14B6DB60A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51662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810A19-41D1-46CA-A730-7DD14B6DB60A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1508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49.xml"/><Relationship Id="rId1" Type="http://schemas.openxmlformats.org/officeDocument/2006/relationships/tags" Target="../tags/tag24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3.bin"/><Relationship Id="rId9" Type="http://schemas.microsoft.com/office/2007/relationships/hdphoto" Target="../media/hdphoto2.wdp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4.bin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5.bin"/><Relationship Id="rId9" Type="http://schemas.microsoft.com/office/2007/relationships/hdphoto" Target="../media/hdphoto2.wdp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6.bin"/></Relationships>
</file>

<file path=ppt/slideLayouts/_rels/slideLayout10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7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8.xml"/><Relationship Id="rId4" Type="http://schemas.openxmlformats.org/officeDocument/2006/relationships/image" Target="../media/image14.emf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9.bin"/><Relationship Id="rId9" Type="http://schemas.microsoft.com/office/2007/relationships/hdphoto" Target="../media/hdphoto2.wdp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62.xml"/><Relationship Id="rId1" Type="http://schemas.openxmlformats.org/officeDocument/2006/relationships/tags" Target="../tags/tag26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Relationship Id="rId9" Type="http://schemas.microsoft.com/office/2007/relationships/hdphoto" Target="../media/hdphoto2.wdp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1.bin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68.xml"/><Relationship Id="rId1" Type="http://schemas.openxmlformats.org/officeDocument/2006/relationships/tags" Target="../tags/tag267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3.bin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70.xml"/><Relationship Id="rId1" Type="http://schemas.openxmlformats.org/officeDocument/2006/relationships/tags" Target="../tags/tag26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4.bin"/><Relationship Id="rId9" Type="http://schemas.microsoft.com/office/2007/relationships/hdphoto" Target="../media/hdphoto2.wdp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5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png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image" Target="../media/image3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76.bin"/><Relationship Id="rId9" Type="http://schemas.microsoft.com/office/2007/relationships/hdphoto" Target="../media/hdphoto2.wdp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76.xml"/><Relationship Id="rId1" Type="http://schemas.openxmlformats.org/officeDocument/2006/relationships/tags" Target="../tags/tag27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7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78.xml"/><Relationship Id="rId1" Type="http://schemas.openxmlformats.org/officeDocument/2006/relationships/tags" Target="../tags/tag277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8.bin"/><Relationship Id="rId9" Type="http://schemas.microsoft.com/office/2007/relationships/hdphoto" Target="../media/hdphoto2.wdp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9.bin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0.bin"/><Relationship Id="rId9" Type="http://schemas.microsoft.com/office/2007/relationships/hdphoto" Target="../media/hdphoto2.wdp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84.xml"/><Relationship Id="rId1" Type="http://schemas.openxmlformats.org/officeDocument/2006/relationships/tags" Target="../tags/tag28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1.bin"/></Relationships>
</file>

<file path=ppt/slideLayouts/_rels/slideLayout11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86.xml"/><Relationship Id="rId1" Type="http://schemas.openxmlformats.org/officeDocument/2006/relationships/tags" Target="../tags/tag28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7.xml"/><Relationship Id="rId4" Type="http://schemas.openxmlformats.org/officeDocument/2006/relationships/image" Target="../media/image14.emf"/></Relationships>
</file>

<file path=ppt/slideLayouts/_rels/slideLayout1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89.xml"/><Relationship Id="rId1" Type="http://schemas.openxmlformats.org/officeDocument/2006/relationships/tags" Target="../tags/tag288.xml"/><Relationship Id="rId6" Type="http://schemas.openxmlformats.org/officeDocument/2006/relationships/image" Target="../media/image8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8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291.xml"/><Relationship Id="rId1" Type="http://schemas.openxmlformats.org/officeDocument/2006/relationships/tags" Target="../tags/tag290.xml"/><Relationship Id="rId6" Type="http://schemas.openxmlformats.org/officeDocument/2006/relationships/image" Target="../media/image1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2.xml"/><Relationship Id="rId4" Type="http://schemas.openxmlformats.org/officeDocument/2006/relationships/image" Target="../media/image14.emf"/></Relationships>
</file>

<file path=ppt/slideLayouts/_rels/slideLayout12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94.xml"/><Relationship Id="rId1" Type="http://schemas.openxmlformats.org/officeDocument/2006/relationships/tags" Target="../tags/tag29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5.xml"/><Relationship Id="rId4" Type="http://schemas.openxmlformats.org/officeDocument/2006/relationships/image" Target="../media/image14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297.xml"/><Relationship Id="rId1" Type="http://schemas.openxmlformats.org/officeDocument/2006/relationships/tags" Target="../tags/tag296.xml"/><Relationship Id="rId6" Type="http://schemas.openxmlformats.org/officeDocument/2006/relationships/image" Target="../media/image1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8.xml"/><Relationship Id="rId4" Type="http://schemas.openxmlformats.org/officeDocument/2006/relationships/image" Target="../media/image14.emf"/></Relationships>
</file>

<file path=ppt/slideLayouts/_rels/slideLayout12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00.xml"/><Relationship Id="rId1" Type="http://schemas.openxmlformats.org/officeDocument/2006/relationships/tags" Target="../tags/tag29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1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1.xml"/><Relationship Id="rId4" Type="http://schemas.openxmlformats.org/officeDocument/2006/relationships/image" Target="../media/image14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2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7" Type="http://schemas.openxmlformats.org/officeDocument/2006/relationships/image" Target="../media/image2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3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2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4.xml"/><Relationship Id="rId4" Type="http://schemas.openxmlformats.org/officeDocument/2006/relationships/image" Target="../media/image14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5.xml"/><Relationship Id="rId4" Type="http://schemas.openxmlformats.org/officeDocument/2006/relationships/image" Target="../media/image14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307.xml"/><Relationship Id="rId1" Type="http://schemas.openxmlformats.org/officeDocument/2006/relationships/tags" Target="../tags/tag306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9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8.xml"/><Relationship Id="rId4" Type="http://schemas.openxmlformats.org/officeDocument/2006/relationships/image" Target="../media/image14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9.xml"/><Relationship Id="rId4" Type="http://schemas.openxmlformats.org/officeDocument/2006/relationships/image" Target="../media/image14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0.xml"/><Relationship Id="rId4" Type="http://schemas.openxmlformats.org/officeDocument/2006/relationships/image" Target="../media/image14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1.xml"/><Relationship Id="rId4" Type="http://schemas.openxmlformats.org/officeDocument/2006/relationships/image" Target="../media/image14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2.xml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3.xml"/><Relationship Id="rId4" Type="http://schemas.openxmlformats.org/officeDocument/2006/relationships/image" Target="../media/image14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4.xml"/><Relationship Id="rId4" Type="http://schemas.openxmlformats.org/officeDocument/2006/relationships/image" Target="../media/image14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5.xml"/><Relationship Id="rId4" Type="http://schemas.openxmlformats.org/officeDocument/2006/relationships/image" Target="../media/image14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6.xml"/><Relationship Id="rId4" Type="http://schemas.openxmlformats.org/officeDocument/2006/relationships/image" Target="../media/image14.emf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18.xml"/><Relationship Id="rId1" Type="http://schemas.openxmlformats.org/officeDocument/2006/relationships/tags" Target="../tags/tag317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7.bin"/><Relationship Id="rId9" Type="http://schemas.microsoft.com/office/2007/relationships/hdphoto" Target="../media/hdphoto2.wdp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8.bin"/><Relationship Id="rId9" Type="http://schemas.microsoft.com/office/2007/relationships/hdphoto" Target="../media/hdphoto2.wdp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22.xml"/><Relationship Id="rId1" Type="http://schemas.openxmlformats.org/officeDocument/2006/relationships/tags" Target="../tags/tag32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09.bin"/><Relationship Id="rId9" Type="http://schemas.microsoft.com/office/2007/relationships/hdphoto" Target="../media/hdphoto2.wdp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24.xml"/><Relationship Id="rId1" Type="http://schemas.openxmlformats.org/officeDocument/2006/relationships/tags" Target="../tags/tag32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0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26.xml"/><Relationship Id="rId1" Type="http://schemas.openxmlformats.org/officeDocument/2006/relationships/tags" Target="../tags/tag32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1.bin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3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13.bin"/><Relationship Id="rId9" Type="http://schemas.microsoft.com/office/2007/relationships/hdphoto" Target="../media/hdphoto2.wdp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32.xml"/><Relationship Id="rId1" Type="http://schemas.openxmlformats.org/officeDocument/2006/relationships/tags" Target="../tags/tag33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4.bin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png"/><Relationship Id="rId2" Type="http://schemas.openxmlformats.org/officeDocument/2006/relationships/tags" Target="../tags/tag334.xml"/><Relationship Id="rId1" Type="http://schemas.openxmlformats.org/officeDocument/2006/relationships/tags" Target="../tags/tag33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5.bin"/><Relationship Id="rId9" Type="http://schemas.microsoft.com/office/2007/relationships/hdphoto" Target="../media/hdphoto2.wdp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36.xml"/><Relationship Id="rId1" Type="http://schemas.openxmlformats.org/officeDocument/2006/relationships/tags" Target="../tags/tag33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6.bin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38.xml"/><Relationship Id="rId1" Type="http://schemas.openxmlformats.org/officeDocument/2006/relationships/tags" Target="../tags/tag337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7.bin"/><Relationship Id="rId9" Type="http://schemas.microsoft.com/office/2007/relationships/hdphoto" Target="../media/hdphoto2.wdp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40.xml"/><Relationship Id="rId1" Type="http://schemas.openxmlformats.org/officeDocument/2006/relationships/tags" Target="../tags/tag339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8.bin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42.xml"/><Relationship Id="rId1" Type="http://schemas.openxmlformats.org/officeDocument/2006/relationships/tags" Target="../tags/tag34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19.bin"/><Relationship Id="rId9" Type="http://schemas.microsoft.com/office/2007/relationships/hdphoto" Target="../media/hdphoto2.wdp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0.bin"/></Relationships>
</file>

<file path=ppt/slideLayouts/_rels/slideLayout15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46.xml"/><Relationship Id="rId1" Type="http://schemas.openxmlformats.org/officeDocument/2006/relationships/tags" Target="../tags/tag34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1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47.xml"/><Relationship Id="rId4" Type="http://schemas.openxmlformats.org/officeDocument/2006/relationships/image" Target="../media/image14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3.bin"/><Relationship Id="rId9" Type="http://schemas.microsoft.com/office/2007/relationships/hdphoto" Target="../media/hdphoto2.wdp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51.xml"/><Relationship Id="rId1" Type="http://schemas.openxmlformats.org/officeDocument/2006/relationships/tags" Target="../tags/tag350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4.bin"/><Relationship Id="rId9" Type="http://schemas.microsoft.com/office/2007/relationships/hdphoto" Target="../media/hdphoto2.wdp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5.bin"/><Relationship Id="rId9" Type="http://schemas.microsoft.com/office/2007/relationships/hdphoto" Target="../media/hdphoto2.wdp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55.xml"/><Relationship Id="rId1" Type="http://schemas.openxmlformats.org/officeDocument/2006/relationships/tags" Target="../tags/tag354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6.bin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7.bin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359.xml"/><Relationship Id="rId1" Type="http://schemas.openxmlformats.org/officeDocument/2006/relationships/tags" Target="../tags/tag35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8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image" Target="../media/image3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9.bin"/><Relationship Id="rId9" Type="http://schemas.microsoft.com/office/2007/relationships/hdphoto" Target="../media/hdphoto2.wdp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0.bin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png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1.bin"/><Relationship Id="rId9" Type="http://schemas.microsoft.com/office/2007/relationships/hdphoto" Target="../media/hdphoto2.wdp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67.xml"/><Relationship Id="rId1" Type="http://schemas.openxmlformats.org/officeDocument/2006/relationships/tags" Target="../tags/tag36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2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3.bin"/><Relationship Id="rId9" Type="http://schemas.microsoft.com/office/2007/relationships/hdphoto" Target="../media/hdphoto2.wdp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4.bin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73.xml"/><Relationship Id="rId1" Type="http://schemas.openxmlformats.org/officeDocument/2006/relationships/tags" Target="../tags/tag37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5.bin"/><Relationship Id="rId9" Type="http://schemas.microsoft.com/office/2007/relationships/hdphoto" Target="../media/hdphoto2.wdp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375.xml"/><Relationship Id="rId1" Type="http://schemas.openxmlformats.org/officeDocument/2006/relationships/tags" Target="../tags/tag374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6.bin"/></Relationships>
</file>

<file path=ppt/slideLayouts/_rels/slideLayout17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37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8.xml"/><Relationship Id="rId4" Type="http://schemas.openxmlformats.org/officeDocument/2006/relationships/image" Target="../media/image14.emf"/></Relationships>
</file>

<file path=ppt/slideLayouts/_rels/slideLayout17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9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382.xml"/><Relationship Id="rId1" Type="http://schemas.openxmlformats.org/officeDocument/2006/relationships/tags" Target="../tags/tag381.xml"/><Relationship Id="rId6" Type="http://schemas.openxmlformats.org/officeDocument/2006/relationships/image" Target="../media/image1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0.bin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1.bin"/><Relationship Id="rId9" Type="http://schemas.microsoft.com/office/2007/relationships/hdphoto" Target="../media/hdphoto2.wdp"/></Relationships>
</file>

<file path=ppt/slideLayouts/_rels/slideLayout17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86.xml"/><Relationship Id="rId1" Type="http://schemas.openxmlformats.org/officeDocument/2006/relationships/tags" Target="../tags/tag385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2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7.xml"/><Relationship Id="rId4" Type="http://schemas.openxmlformats.org/officeDocument/2006/relationships/image" Target="../media/image14.emf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8.xml"/><Relationship Id="rId4" Type="http://schemas.openxmlformats.org/officeDocument/2006/relationships/image" Target="../media/image14.emf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390.xml"/><Relationship Id="rId1" Type="http://schemas.openxmlformats.org/officeDocument/2006/relationships/tags" Target="../tags/tag389.xml"/><Relationship Id="rId6" Type="http://schemas.openxmlformats.org/officeDocument/2006/relationships/image" Target="../media/image19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5.bin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6.bin"/><Relationship Id="rId9" Type="http://schemas.microsoft.com/office/2007/relationships/hdphoto" Target="../media/hdphoto2.wdp"/></Relationships>
</file>

<file path=ppt/slideLayouts/_rels/slideLayout18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394.xml"/><Relationship Id="rId1" Type="http://schemas.openxmlformats.org/officeDocument/2006/relationships/tags" Target="../tags/tag39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47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5.xml"/><Relationship Id="rId4" Type="http://schemas.openxmlformats.org/officeDocument/2006/relationships/image" Target="../media/image14.emf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6.xml"/><Relationship Id="rId4" Type="http://schemas.openxmlformats.org/officeDocument/2006/relationships/image" Target="../media/image14.emf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7.xml"/><Relationship Id="rId5" Type="http://schemas.openxmlformats.org/officeDocument/2006/relationships/image" Target="../media/image4.png"/><Relationship Id="rId4" Type="http://schemas.openxmlformats.org/officeDocument/2006/relationships/image" Target="../media/image2.emf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8.xml"/><Relationship Id="rId4" Type="http://schemas.openxmlformats.org/officeDocument/2006/relationships/image" Target="../media/image14.emf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01.xml"/><Relationship Id="rId7" Type="http://schemas.openxmlformats.org/officeDocument/2006/relationships/image" Target="../media/image3.jpeg"/><Relationship Id="rId2" Type="http://schemas.openxmlformats.org/officeDocument/2006/relationships/tags" Target="../tags/tag400.xml"/><Relationship Id="rId1" Type="http://schemas.openxmlformats.org/officeDocument/2006/relationships/tags" Target="../tags/tag399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52.bin"/><Relationship Id="rId4" Type="http://schemas.openxmlformats.org/officeDocument/2006/relationships/slideMaster" Target="../slideMasters/slideMaster3.xml"/><Relationship Id="rId9" Type="http://schemas.microsoft.com/office/2007/relationships/hdphoto" Target="../media/hdphoto2.wdp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03.xml"/><Relationship Id="rId1" Type="http://schemas.openxmlformats.org/officeDocument/2006/relationships/tags" Target="../tags/tag402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3.bin"/></Relationships>
</file>

<file path=ppt/slideLayouts/_rels/slideLayout19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05.xml"/><Relationship Id="rId1" Type="http://schemas.openxmlformats.org/officeDocument/2006/relationships/tags" Target="../tags/tag404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4.bin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5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6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0.xml"/><Relationship Id="rId4" Type="http://schemas.openxmlformats.org/officeDocument/2006/relationships/image" Target="../media/image18.emf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1.xml"/><Relationship Id="rId4" Type="http://schemas.openxmlformats.org/officeDocument/2006/relationships/image" Target="../media/image18.emf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13.xml"/><Relationship Id="rId1" Type="http://schemas.openxmlformats.org/officeDocument/2006/relationships/tags" Target="../tags/tag412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59.bin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0.bin"/><Relationship Id="rId9" Type="http://schemas.microsoft.com/office/2007/relationships/hdphoto" Target="../media/hdphoto2.wdp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6.xml"/><Relationship Id="rId4" Type="http://schemas.openxmlformats.org/officeDocument/2006/relationships/image" Target="../media/image14.emf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19.xml"/><Relationship Id="rId7" Type="http://schemas.openxmlformats.org/officeDocument/2006/relationships/image" Target="../media/image3.jpeg"/><Relationship Id="rId2" Type="http://schemas.openxmlformats.org/officeDocument/2006/relationships/tags" Target="../tags/tag418.xml"/><Relationship Id="rId1" Type="http://schemas.openxmlformats.org/officeDocument/2006/relationships/tags" Target="../tags/tag417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62.bin"/><Relationship Id="rId4" Type="http://schemas.openxmlformats.org/officeDocument/2006/relationships/slideMaster" Target="../slideMasters/slideMaster3.xml"/><Relationship Id="rId9" Type="http://schemas.microsoft.com/office/2007/relationships/hdphoto" Target="../media/hdphoto2.wdp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3.bin"/></Relationships>
</file>

<file path=ppt/slideLayouts/_rels/slideLayout20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23.xml"/><Relationship Id="rId1" Type="http://schemas.openxmlformats.org/officeDocument/2006/relationships/tags" Target="../tags/tag422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4.bin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5.bin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428.xml"/><Relationship Id="rId7" Type="http://schemas.openxmlformats.org/officeDocument/2006/relationships/image" Target="../media/image3.jpeg"/><Relationship Id="rId2" Type="http://schemas.openxmlformats.org/officeDocument/2006/relationships/tags" Target="../tags/tag427.xml"/><Relationship Id="rId1" Type="http://schemas.openxmlformats.org/officeDocument/2006/relationships/tags" Target="../tags/tag426.xml"/><Relationship Id="rId6" Type="http://schemas.openxmlformats.org/officeDocument/2006/relationships/image" Target="../media/image18.emf"/><Relationship Id="rId5" Type="http://schemas.openxmlformats.org/officeDocument/2006/relationships/oleObject" Target="../embeddings/oleObject166.bin"/><Relationship Id="rId4" Type="http://schemas.openxmlformats.org/officeDocument/2006/relationships/slideMaster" Target="../slideMasters/slideMaster3.xml"/><Relationship Id="rId9" Type="http://schemas.microsoft.com/office/2007/relationships/hdphoto" Target="../media/hdphoto2.wdp"/></Relationships>
</file>

<file path=ppt/slideLayouts/_rels/slideLayout20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30.xml"/><Relationship Id="rId1" Type="http://schemas.openxmlformats.org/officeDocument/2006/relationships/tags" Target="../tags/tag429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7.bin"/></Relationships>
</file>

<file path=ppt/slideLayouts/_rels/slideLayout20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32.xml"/><Relationship Id="rId1" Type="http://schemas.openxmlformats.org/officeDocument/2006/relationships/tags" Target="../tags/tag431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8.bin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34.xml"/><Relationship Id="rId1" Type="http://schemas.openxmlformats.org/officeDocument/2006/relationships/tags" Target="../tags/tag433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9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6.xml"/><Relationship Id="rId1" Type="http://schemas.openxmlformats.org/officeDocument/2006/relationships/tags" Target="../tags/tag435.x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0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7.xml"/><Relationship Id="rId4" Type="http://schemas.openxmlformats.org/officeDocument/2006/relationships/image" Target="../media/image18.emf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8.xml"/><Relationship Id="rId4" Type="http://schemas.openxmlformats.org/officeDocument/2006/relationships/image" Target="../media/image18.emf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9.xml"/><Relationship Id="rId4" Type="http://schemas.openxmlformats.org/officeDocument/2006/relationships/image" Target="../media/image18.emf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41.xml"/><Relationship Id="rId1" Type="http://schemas.openxmlformats.org/officeDocument/2006/relationships/tags" Target="../tags/tag440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4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443.xml"/><Relationship Id="rId1" Type="http://schemas.openxmlformats.org/officeDocument/2006/relationships/tags" Target="../tags/tag442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5.bin"/><Relationship Id="rId9" Type="http://schemas.microsoft.com/office/2007/relationships/hdphoto" Target="../media/hdphoto2.wdp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445.xml"/><Relationship Id="rId1" Type="http://schemas.openxmlformats.org/officeDocument/2006/relationships/tags" Target="../tags/tag444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6.bin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image" Target="../media/image3.jpeg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77.bin"/><Relationship Id="rId9" Type="http://schemas.microsoft.com/office/2007/relationships/hdphoto" Target="../media/hdphoto2.wdp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6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6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32.xml"/><Relationship Id="rId7" Type="http://schemas.openxmlformats.org/officeDocument/2006/relationships/oleObject" Target="../embeddings/oleObject5.bin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4.xml"/><Relationship Id="rId10" Type="http://schemas.openxmlformats.org/officeDocument/2006/relationships/image" Target="../media/image4.png"/><Relationship Id="rId4" Type="http://schemas.openxmlformats.org/officeDocument/2006/relationships/tags" Target="../tags/tag33.xml"/><Relationship Id="rId9" Type="http://schemas.openxmlformats.org/officeDocument/2006/relationships/image" Target="../media/image3.jpe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5" Type="http://schemas.openxmlformats.org/officeDocument/2006/relationships/tags" Target="../tags/tag39.xml"/><Relationship Id="rId4" Type="http://schemas.openxmlformats.org/officeDocument/2006/relationships/tags" Target="../tags/tag38.xml"/><Relationship Id="rId9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7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4.png"/><Relationship Id="rId4" Type="http://schemas.openxmlformats.org/officeDocument/2006/relationships/tags" Target="../tags/tag50.xml"/><Relationship Id="rId9" Type="http://schemas.openxmlformats.org/officeDocument/2006/relationships/image" Target="../media/image7.emf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55.xml"/><Relationship Id="rId7" Type="http://schemas.openxmlformats.org/officeDocument/2006/relationships/oleObject" Target="../embeddings/oleObject9.bin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3.jpe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8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image" Target="../media/image3.jpeg"/><Relationship Id="rId5" Type="http://schemas.openxmlformats.org/officeDocument/2006/relationships/tags" Target="../tags/tag62.xml"/><Relationship Id="rId10" Type="http://schemas.openxmlformats.org/officeDocument/2006/relationships/image" Target="../media/image7.emf"/><Relationship Id="rId4" Type="http://schemas.openxmlformats.org/officeDocument/2006/relationships/tags" Target="../tags/tag61.xml"/><Relationship Id="rId9" Type="http://schemas.openxmlformats.org/officeDocument/2006/relationships/oleObject" Target="../embeddings/oleObject10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4.png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5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image" Target="../media/image4.pn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5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12" Type="http://schemas.openxmlformats.org/officeDocument/2006/relationships/image" Target="../media/image4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5.emf"/><Relationship Id="rId5" Type="http://schemas.openxmlformats.org/officeDocument/2006/relationships/tags" Target="../tags/tag85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84.xml"/><Relationship Id="rId9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image" Target="../media/image4.png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9.emf"/><Relationship Id="rId5" Type="http://schemas.openxmlformats.org/officeDocument/2006/relationships/tags" Target="../tags/tag93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12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5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0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5" Type="http://schemas.openxmlformats.org/officeDocument/2006/relationships/tags" Target="../tags/tag109.xml"/><Relationship Id="rId10" Type="http://schemas.openxmlformats.org/officeDocument/2006/relationships/image" Target="../media/image4.png"/><Relationship Id="rId4" Type="http://schemas.openxmlformats.org/officeDocument/2006/relationships/tags" Target="../tags/tag108.xml"/><Relationship Id="rId9" Type="http://schemas.openxmlformats.org/officeDocument/2006/relationships/image" Target="../media/image7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3.xml"/><Relationship Id="rId7" Type="http://schemas.openxmlformats.org/officeDocument/2006/relationships/image" Target="../media/image7.emf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oleObject" Target="../embeddings/oleObject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14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0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4" Type="http://schemas.openxmlformats.org/officeDocument/2006/relationships/image" Target="../media/image6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4" Type="http://schemas.openxmlformats.org/officeDocument/2006/relationships/image" Target="../media/image6.emf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5.pn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6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Relationship Id="rId9" Type="http://schemas.microsoft.com/office/2007/relationships/hdphoto" Target="../media/hdphoto1.wdp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5.emf"/><Relationship Id="rId4" Type="http://schemas.openxmlformats.org/officeDocument/2006/relationships/tags" Target="../tags/tag132.xml"/><Relationship Id="rId9" Type="http://schemas.openxmlformats.org/officeDocument/2006/relationships/oleObject" Target="../embeddings/oleObject26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7.bin"/><Relationship Id="rId3" Type="http://schemas.openxmlformats.org/officeDocument/2006/relationships/tags" Target="../tags/tag138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5" Type="http://schemas.openxmlformats.org/officeDocument/2006/relationships/tags" Target="../tags/tag140.xml"/><Relationship Id="rId4" Type="http://schemas.openxmlformats.org/officeDocument/2006/relationships/tags" Target="../tags/tag139.xml"/><Relationship Id="rId9" Type="http://schemas.openxmlformats.org/officeDocument/2006/relationships/image" Target="../media/image7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tags" Target="../tags/tag144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5" Type="http://schemas.openxmlformats.org/officeDocument/2006/relationships/tags" Target="../tags/tag146.xml"/><Relationship Id="rId4" Type="http://schemas.openxmlformats.org/officeDocument/2006/relationships/tags" Target="../tags/tag145.xml"/><Relationship Id="rId9" Type="http://schemas.openxmlformats.org/officeDocument/2006/relationships/image" Target="../media/image7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15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5" Type="http://schemas.openxmlformats.org/officeDocument/2006/relationships/tags" Target="../tags/tag152.xml"/><Relationship Id="rId10" Type="http://schemas.openxmlformats.org/officeDocument/2006/relationships/image" Target="../media/image3.jpeg"/><Relationship Id="rId4" Type="http://schemas.openxmlformats.org/officeDocument/2006/relationships/tags" Target="../tags/tag151.xml"/><Relationship Id="rId9" Type="http://schemas.openxmlformats.org/officeDocument/2006/relationships/image" Target="../media/image7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56.xml"/><Relationship Id="rId7" Type="http://schemas.openxmlformats.org/officeDocument/2006/relationships/tags" Target="../tags/tag160.xml"/><Relationship Id="rId12" Type="http://schemas.openxmlformats.org/officeDocument/2006/relationships/image" Target="../media/image8.pn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tags" Target="../tags/tag159.xml"/><Relationship Id="rId11" Type="http://schemas.openxmlformats.org/officeDocument/2006/relationships/image" Target="../media/image3.jpeg"/><Relationship Id="rId5" Type="http://schemas.openxmlformats.org/officeDocument/2006/relationships/tags" Target="../tags/tag158.xml"/><Relationship Id="rId10" Type="http://schemas.openxmlformats.org/officeDocument/2006/relationships/image" Target="../media/image7.emf"/><Relationship Id="rId4" Type="http://schemas.openxmlformats.org/officeDocument/2006/relationships/tags" Target="../tags/tag157.xml"/><Relationship Id="rId9" Type="http://schemas.openxmlformats.org/officeDocument/2006/relationships/oleObject" Target="../embeddings/oleObject30.bin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image" Target="../media/image4.png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image" Target="../media/image5.emf"/><Relationship Id="rId5" Type="http://schemas.openxmlformats.org/officeDocument/2006/relationships/tags" Target="../tags/tag165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164.xml"/><Relationship Id="rId9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176.xml"/><Relationship Id="rId3" Type="http://schemas.openxmlformats.org/officeDocument/2006/relationships/tags" Target="../tags/tag171.xml"/><Relationship Id="rId7" Type="http://schemas.openxmlformats.org/officeDocument/2006/relationships/tags" Target="../tags/tag175.xml"/><Relationship Id="rId12" Type="http://schemas.openxmlformats.org/officeDocument/2006/relationships/image" Target="../media/image4.png"/><Relationship Id="rId2" Type="http://schemas.openxmlformats.org/officeDocument/2006/relationships/tags" Target="../tags/tag170.xml"/><Relationship Id="rId1" Type="http://schemas.openxmlformats.org/officeDocument/2006/relationships/tags" Target="../tags/tag169.xml"/><Relationship Id="rId6" Type="http://schemas.openxmlformats.org/officeDocument/2006/relationships/tags" Target="../tags/tag174.xml"/><Relationship Id="rId11" Type="http://schemas.openxmlformats.org/officeDocument/2006/relationships/image" Target="../media/image5.emf"/><Relationship Id="rId5" Type="http://schemas.openxmlformats.org/officeDocument/2006/relationships/tags" Target="../tags/tag173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172.xml"/><Relationship Id="rId9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12" Type="http://schemas.openxmlformats.org/officeDocument/2006/relationships/image" Target="../media/image4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tags" Target="../tags/tag182.xml"/><Relationship Id="rId11" Type="http://schemas.openxmlformats.org/officeDocument/2006/relationships/image" Target="../media/image5.emf"/><Relationship Id="rId5" Type="http://schemas.openxmlformats.org/officeDocument/2006/relationships/tags" Target="../tags/tag181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180.xml"/><Relationship Id="rId9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192.xml"/><Relationship Id="rId3" Type="http://schemas.openxmlformats.org/officeDocument/2006/relationships/tags" Target="../tags/tag187.xml"/><Relationship Id="rId7" Type="http://schemas.openxmlformats.org/officeDocument/2006/relationships/tags" Target="../tags/tag191.xml"/><Relationship Id="rId12" Type="http://schemas.openxmlformats.org/officeDocument/2006/relationships/image" Target="../media/image4.png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1" Type="http://schemas.openxmlformats.org/officeDocument/2006/relationships/image" Target="../media/image9.emf"/><Relationship Id="rId5" Type="http://schemas.openxmlformats.org/officeDocument/2006/relationships/tags" Target="../tags/tag189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188.xml"/><Relationship Id="rId9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200.xml"/><Relationship Id="rId3" Type="http://schemas.openxmlformats.org/officeDocument/2006/relationships/tags" Target="../tags/tag195.xml"/><Relationship Id="rId7" Type="http://schemas.openxmlformats.org/officeDocument/2006/relationships/tags" Target="../tags/tag199.xml"/><Relationship Id="rId12" Type="http://schemas.openxmlformats.org/officeDocument/2006/relationships/image" Target="../media/image4.png"/><Relationship Id="rId2" Type="http://schemas.openxmlformats.org/officeDocument/2006/relationships/tags" Target="../tags/tag194.xml"/><Relationship Id="rId1" Type="http://schemas.openxmlformats.org/officeDocument/2006/relationships/tags" Target="../tags/tag193.xml"/><Relationship Id="rId6" Type="http://schemas.openxmlformats.org/officeDocument/2006/relationships/tags" Target="../tags/tag198.xml"/><Relationship Id="rId11" Type="http://schemas.openxmlformats.org/officeDocument/2006/relationships/image" Target="../media/image5.emf"/><Relationship Id="rId5" Type="http://schemas.openxmlformats.org/officeDocument/2006/relationships/tags" Target="../tags/tag197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196.xml"/><Relationship Id="rId9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6.bin"/><Relationship Id="rId3" Type="http://schemas.openxmlformats.org/officeDocument/2006/relationships/tags" Target="../tags/tag20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5" Type="http://schemas.openxmlformats.org/officeDocument/2006/relationships/tags" Target="../tags/tag205.xml"/><Relationship Id="rId10" Type="http://schemas.openxmlformats.org/officeDocument/2006/relationships/image" Target="../media/image4.png"/><Relationship Id="rId4" Type="http://schemas.openxmlformats.org/officeDocument/2006/relationships/tags" Target="../tags/tag204.xml"/><Relationship Id="rId9" Type="http://schemas.openxmlformats.org/officeDocument/2006/relationships/image" Target="../media/image7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09.xml"/><Relationship Id="rId7" Type="http://schemas.openxmlformats.org/officeDocument/2006/relationships/image" Target="../media/image7.emf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0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1.xml"/><Relationship Id="rId4" Type="http://schemas.openxmlformats.org/officeDocument/2006/relationships/image" Target="../media/image6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2.xml"/><Relationship Id="rId4" Type="http://schemas.openxmlformats.org/officeDocument/2006/relationships/image" Target="../media/image6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3.xml"/><Relationship Id="rId4" Type="http://schemas.openxmlformats.org/officeDocument/2006/relationships/image" Target="../media/image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4.xml"/><Relationship Id="rId4" Type="http://schemas.openxmlformats.org/officeDocument/2006/relationships/image" Target="../media/image6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5.xml"/><Relationship Id="rId4" Type="http://schemas.openxmlformats.org/officeDocument/2006/relationships/image" Target="../media/image14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6.xml"/><Relationship Id="rId4" Type="http://schemas.openxmlformats.org/officeDocument/2006/relationships/image" Target="../media/image14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7.xml"/><Relationship Id="rId4" Type="http://schemas.openxmlformats.org/officeDocument/2006/relationships/image" Target="../media/image14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8.xml"/><Relationship Id="rId4" Type="http://schemas.openxmlformats.org/officeDocument/2006/relationships/image" Target="../media/image1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9.xml"/><Relationship Id="rId4" Type="http://schemas.openxmlformats.org/officeDocument/2006/relationships/image" Target="../media/image14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0.xml"/><Relationship Id="rId4" Type="http://schemas.openxmlformats.org/officeDocument/2006/relationships/image" Target="../media/image14.emf"/></Relationships>
</file>

<file path=ppt/slideLayouts/_rels/slideLayout8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22.xml"/><Relationship Id="rId1" Type="http://schemas.openxmlformats.org/officeDocument/2006/relationships/tags" Target="../tags/tag221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8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3.xml"/><Relationship Id="rId4" Type="http://schemas.openxmlformats.org/officeDocument/2006/relationships/image" Target="../media/image14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4.xml"/><Relationship Id="rId4" Type="http://schemas.openxmlformats.org/officeDocument/2006/relationships/image" Target="../media/image14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5.xml"/><Relationship Id="rId4" Type="http://schemas.openxmlformats.org/officeDocument/2006/relationships/image" Target="../media/image14.emf"/></Relationships>
</file>

<file path=ppt/slideLayouts/_rels/slideLayout8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3.bin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4.bin"/><Relationship Id="rId9" Type="http://schemas.microsoft.com/office/2007/relationships/hdphoto" Target="../media/hdphoto2.wdp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5.bin"/><Relationship Id="rId9" Type="http://schemas.microsoft.com/office/2007/relationships/hdphoto" Target="../media/hdphoto2.wdp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6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7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0.png"/><Relationship Id="rId2" Type="http://schemas.openxmlformats.org/officeDocument/2006/relationships/tags" Target="../tags/tag239.xml"/><Relationship Id="rId1" Type="http://schemas.openxmlformats.org/officeDocument/2006/relationships/tags" Target="../tags/tag238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8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png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9.bin"/><Relationship Id="rId9" Type="http://schemas.microsoft.com/office/2007/relationships/hdphoto" Target="../media/hdphoto2.wdp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43.xml"/><Relationship Id="rId1" Type="http://schemas.openxmlformats.org/officeDocument/2006/relationships/tags" Target="../tags/tag242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0.bin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png"/><Relationship Id="rId2" Type="http://schemas.openxmlformats.org/officeDocument/2006/relationships/tags" Target="../tags/tag245.xml"/><Relationship Id="rId1" Type="http://schemas.openxmlformats.org/officeDocument/2006/relationships/tags" Target="../tags/tag244.xml"/><Relationship Id="rId6" Type="http://schemas.openxmlformats.org/officeDocument/2006/relationships/image" Target="../media/image3.jpe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61.bin"/><Relationship Id="rId9" Type="http://schemas.microsoft.com/office/2007/relationships/hdphoto" Target="../media/hdphoto2.wdp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5.png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image" Target="../media/image3.jpe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11CE1F-8394-4165-B7DF-D6226AC4CC0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008957-CD1E-4FE0-A232-ECFA6FAE12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58333E-87BD-4E77-823A-C6B7B1FC2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161D1B-6B06-4F68-9035-CF31ED7CD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AAE0D14-EAD9-43DB-AA16-9C5E2FB0E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18687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AF380F-035B-4009-9AD8-D835E9693B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C92980-E5E5-49AC-9F50-F3F39B5653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C01424-0129-4CF8-B8CA-E5505744B1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DB39D68-B5BA-4DDC-BAEC-F4FE5DF78C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F93257-C257-469B-8115-8FE445373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44959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2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02675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44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41629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95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9162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30723"/>
          <a:stretch>
            <a:fillRect/>
          </a:stretch>
        </p:blipFill>
        <p:spPr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8794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84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4009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91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85865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White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69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83186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ighlight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7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41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83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5620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half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487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0101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FCA497C-5765-465E-86F5-70E0E6ED8C4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389EC13-A7DB-4A30-9FF4-DE7056AF0F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3C1E22-F966-430F-A825-74E52B5DE5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6ABEB8-7678-42EB-B377-9CAB50578A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E52176-48CC-4BB0-A6C2-3F640D6506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98740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two third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814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2479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ft arro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24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1150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682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66467"/>
          <a:stretch>
            <a:fillRect/>
          </a:stretch>
        </p:blipFill>
        <p:spPr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6732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35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7278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8110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7524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3716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442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052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rrow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95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261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309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30723"/>
          <a:stretch>
            <a:fillRect/>
          </a:stretch>
        </p:blipFill>
        <p:spPr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749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statement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4847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93731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E4CAB20-DFBA-4C8C-96F6-ED6B2E1DA1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242713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9913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12474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000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458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661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97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597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42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15848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2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6570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50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9307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972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 vert="horz"/>
          <a:lstStyle>
            <a:lvl1pPr>
              <a:defRPr sz="3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56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5421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481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9224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252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7506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40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CFA2143-B3B9-4EC7-BC35-3ABFA6F994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5424721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43509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245D5B-A391-4060-B58C-E17D1C2FC06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2895600" y="2269673"/>
            <a:ext cx="6492240" cy="231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31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2">
            <a:extLst>
              <a:ext uri="{FF2B5EF4-FFF2-40B4-BE49-F238E27FC236}">
                <a16:creationId xmlns:a16="http://schemas.microsoft.com/office/drawing/2014/main" id="{5F1B2FF6-C631-4D69-AD07-A1575FDDB58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0" y="0"/>
            <a:ext cx="121913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A1092D5-8FBC-4B49-95BE-0896E37575B2}"/>
              </a:ext>
            </a:extLst>
          </p:cNvPr>
          <p:cNvSpPr txBox="1"/>
          <p:nvPr userDrawn="1"/>
        </p:nvSpPr>
        <p:spPr bwMode="ltGray">
          <a:xfrm>
            <a:off x="1016059" y="4840064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SouthAsia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7" name="Picture 2" descr="Image result for facebook twitter logos">
            <a:extLst>
              <a:ext uri="{FF2B5EF4-FFF2-40B4-BE49-F238E27FC236}">
                <a16:creationId xmlns:a16="http://schemas.microsoft.com/office/drawing/2014/main" id="{38650111-84F6-472E-AFD1-E03A70EC988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17"/>
          <a:stretch/>
        </p:blipFill>
        <p:spPr bwMode="ltGray">
          <a:xfrm>
            <a:off x="260612" y="4699000"/>
            <a:ext cx="69195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Image result for facebook twitter logos">
            <a:extLst>
              <a:ext uri="{FF2B5EF4-FFF2-40B4-BE49-F238E27FC236}">
                <a16:creationId xmlns:a16="http://schemas.microsoft.com/office/drawing/2014/main" id="{1B0F7BD5-CE18-45A5-A066-92408CDBC54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0" r="22830"/>
          <a:stretch/>
        </p:blipFill>
        <p:spPr bwMode="ltGray">
          <a:xfrm>
            <a:off x="190607" y="5397500"/>
            <a:ext cx="761956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Image result for @">
            <a:extLst>
              <a:ext uri="{FF2B5EF4-FFF2-40B4-BE49-F238E27FC236}">
                <a16:creationId xmlns:a16="http://schemas.microsoft.com/office/drawing/2014/main" id="{3EFB5D2E-AA62-434F-ACA8-CAD6367E734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02421" y="6106126"/>
            <a:ext cx="913638" cy="52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26E0B782-4B95-4663-9CB7-97C9665B5495}"/>
              </a:ext>
            </a:extLst>
          </p:cNvPr>
          <p:cNvSpPr txBox="1"/>
          <p:nvPr userDrawn="1"/>
        </p:nvSpPr>
        <p:spPr bwMode="ltGray">
          <a:xfrm>
            <a:off x="1016059" y="5538565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Sasia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25D567-311D-49E1-B777-56336E35A658}"/>
              </a:ext>
            </a:extLst>
          </p:cNvPr>
          <p:cNvSpPr txBox="1"/>
          <p:nvPr userDrawn="1"/>
        </p:nvSpPr>
        <p:spPr bwMode="ltGray">
          <a:xfrm>
            <a:off x="1016059" y="6203369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worldbank.org/</a:t>
            </a:r>
            <a:r>
              <a:rPr lang="en-US" sz="2000" err="1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sar</a:t>
            </a:r>
            <a:endParaRPr lang="en-GB" sz="200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0370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75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12522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755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634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7478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A532677-E65B-4566-93A2-AD647FA001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5557" y="6186486"/>
            <a:ext cx="8281260" cy="215444"/>
          </a:xfrm>
        </p:spPr>
        <p:txBody>
          <a:bodyPr/>
          <a:lstStyle>
            <a:lvl1pPr algn="r">
              <a:defRPr sz="1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43">
            <a:extLst>
              <a:ext uri="{FF2B5EF4-FFF2-40B4-BE49-F238E27FC236}">
                <a16:creationId xmlns:a16="http://schemas.microsoft.com/office/drawing/2014/main" id="{C3FD8990-F0E7-4DC9-B259-650EBB63BC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15557" y="5754521"/>
            <a:ext cx="8281260" cy="307777"/>
          </a:xfrm>
        </p:spPr>
        <p:txBody>
          <a:bodyPr/>
          <a:lstStyle>
            <a:lvl1pPr algn="r">
              <a:defRPr sz="2000">
                <a:solidFill>
                  <a:srgbClr val="31859C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id="{7A04607A-1F02-4FB2-A4A0-2D972895B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5557" y="5020935"/>
            <a:ext cx="8281260" cy="609398"/>
          </a:xfrm>
        </p:spPr>
        <p:txBody>
          <a:bodyPr vert="horz" anchor="b" anchorCtr="0">
            <a:noAutofit/>
          </a:bodyPr>
          <a:lstStyle>
            <a:lvl1pPr algn="r"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37CEC2-F9C0-431A-9F8F-8501AC8EE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35741"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2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88EF980E-8948-4B44-B22F-EDDB4CDF10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95054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4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64300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9" y="2085628"/>
            <a:ext cx="11082528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778236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91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840655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8628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96419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89283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able + Legend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399035"/>
            <a:ext cx="10972800" cy="4525963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454253E-E317-4374-BAC4-6FB2A0F0ED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10872216" y="1508760"/>
            <a:ext cx="1191221" cy="2218630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4F30AE5-142E-4C25-87BA-B8565844B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4113133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230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9" y="2085628"/>
            <a:ext cx="11082528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04660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0916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vert="horz" anchor="t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15148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536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70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47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828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82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7910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2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8461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90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7364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60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49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05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17252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74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420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13333"/>
            <a:ext cx="10972800" cy="4747852"/>
          </a:xfrm>
        </p:spPr>
        <p:txBody>
          <a:bodyPr/>
          <a:lstStyle>
            <a:lvl1pPr marL="0" indent="0">
              <a:buNone/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309" y="44624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DAC0E46-F1A5-4422-A5E2-124A22C145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761373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30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7934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5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l="13" t="19" r="66455"/>
          <a:stretch>
            <a:fillRect/>
          </a:stretch>
        </p:blipFill>
        <p:spPr>
          <a:xfrm>
            <a:off x="1524" y="1310"/>
            <a:ext cx="4088312" cy="6856690"/>
          </a:xfrm>
          <a:custGeom>
            <a:avLst/>
            <a:gdLst>
              <a:gd name="connsiteX0" fmla="*/ 0 w 4088312"/>
              <a:gd name="connsiteY0" fmla="*/ 0 h 6856690"/>
              <a:gd name="connsiteX1" fmla="*/ 3264933 w 4088312"/>
              <a:gd name="connsiteY1" fmla="*/ 0 h 6856690"/>
              <a:gd name="connsiteX2" fmla="*/ 4088312 w 4088312"/>
              <a:gd name="connsiteY2" fmla="*/ 3429000 h 6856690"/>
              <a:gd name="connsiteX3" fmla="*/ 3265248 w 4088312"/>
              <a:gd name="connsiteY3" fmla="*/ 6856690 h 6856690"/>
              <a:gd name="connsiteX4" fmla="*/ 0 w 4088312"/>
              <a:gd name="connsiteY4" fmla="*/ 6856690 h 685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669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5248" y="6856690"/>
                </a:lnTo>
                <a:lnTo>
                  <a:pt x="0" y="6856690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65225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9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4418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66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224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5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3251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72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98848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93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462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96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30723"/>
          <a:stretch>
            <a:fillRect/>
          </a:stretch>
        </p:blipFill>
        <p:spPr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27391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0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387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5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4041277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50E7B5A-8A94-4419-B81A-97E029AE4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891" y="116632"/>
            <a:ext cx="11258218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700"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3705878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White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2821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021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ighlight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2525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3800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Four column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903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8103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5604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338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90588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992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3749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74580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Left arro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0330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24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8330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left arr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9450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l="13" t="19" r="66455"/>
          <a:stretch>
            <a:fillRect/>
          </a:stretch>
        </p:blipFill>
        <p:spPr>
          <a:xfrm>
            <a:off x="1524" y="1310"/>
            <a:ext cx="4088312" cy="6856690"/>
          </a:xfrm>
          <a:custGeom>
            <a:avLst/>
            <a:gdLst>
              <a:gd name="connsiteX0" fmla="*/ 0 w 4088312"/>
              <a:gd name="connsiteY0" fmla="*/ 0 h 6856690"/>
              <a:gd name="connsiteX1" fmla="*/ 3264933 w 4088312"/>
              <a:gd name="connsiteY1" fmla="*/ 0 h 6856690"/>
              <a:gd name="connsiteX2" fmla="*/ 4088312 w 4088312"/>
              <a:gd name="connsiteY2" fmla="*/ 3429000 h 6856690"/>
              <a:gd name="connsiteX3" fmla="*/ 3265248 w 4088312"/>
              <a:gd name="connsiteY3" fmla="*/ 6856690 h 6856690"/>
              <a:gd name="connsiteX4" fmla="*/ 0 w 4088312"/>
              <a:gd name="connsiteY4" fmla="*/ 6856690 h 68566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669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5248" y="6856690"/>
                </a:lnTo>
                <a:lnTo>
                  <a:pt x="0" y="6856690"/>
                </a:lnTo>
                <a:close/>
              </a:path>
            </a:pathLst>
          </a:custGeom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7857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839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0442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one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766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3353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CBAC482-A8EE-46B0-8692-517A7423EF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34958922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half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553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54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half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3729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47806"/>
          <a:stretch>
            <a:fillRect/>
          </a:stretch>
        </p:blipFill>
        <p:spPr>
          <a:xfrm>
            <a:off x="0" y="0"/>
            <a:ext cx="6363546" cy="6858000"/>
          </a:xfrm>
          <a:custGeom>
            <a:avLst/>
            <a:gdLst>
              <a:gd name="connsiteX0" fmla="*/ 0 w 6363546"/>
              <a:gd name="connsiteY0" fmla="*/ 0 h 6858000"/>
              <a:gd name="connsiteX1" fmla="*/ 5540167 w 6363546"/>
              <a:gd name="connsiteY1" fmla="*/ 0 h 6858000"/>
              <a:gd name="connsiteX2" fmla="*/ 6363546 w 6363546"/>
              <a:gd name="connsiteY2" fmla="*/ 3429000 h 6858000"/>
              <a:gd name="connsiteX3" fmla="*/ 5540167 w 6363546"/>
              <a:gd name="connsiteY3" fmla="*/ 6858000 h 6858000"/>
              <a:gd name="connsiteX4" fmla="*/ 0 w 6363546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546" h="6858000">
                <a:moveTo>
                  <a:pt x="0" y="0"/>
                </a:moveTo>
                <a:lnTo>
                  <a:pt x="5540167" y="0"/>
                </a:lnTo>
                <a:lnTo>
                  <a:pt x="6363546" y="3429000"/>
                </a:lnTo>
                <a:lnTo>
                  <a:pt x="5540167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514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Arrow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934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9338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Green arrow two thir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996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30723"/>
          <a:stretch>
            <a:fillRect/>
          </a:stretch>
        </p:blipFill>
        <p:spPr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8324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Big statement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7509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36623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Big statement ico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7553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0070C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30036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000A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58100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002060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4529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09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4363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9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333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07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920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2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99898"/>
            <a:ext cx="10972800" cy="1828797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3611565"/>
            <a:ext cx="10972800" cy="2514601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26C164-E959-4FFE-83BE-0B5745E96A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910779178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538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07469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592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9521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096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199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. Table of content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9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206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867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. Blank green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6072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0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05580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538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8449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5923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0444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9467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245D5B-A391-4060-B58C-E17D1C2FC06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2895600" y="2269673"/>
            <a:ext cx="6492240" cy="2318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5425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7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89913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12078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9696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>
                <a:solidFill>
                  <a:srgbClr val="0070C0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8C00DE5-D6C4-4453-9FB6-84EB61F43B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78430395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42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293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7242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6057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05127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01473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452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70C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6"/>
            <a:ext cx="3448800" cy="34472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4616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63855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7087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685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3796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4236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40406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06995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5117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7660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3766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4582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5248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71DD16-B8B7-4698-A713-566AB17A93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E2643E-7638-4201-B1CC-AC7D5BF08EE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66423D-15CC-417E-92D3-FF613860B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3B92B5-C129-458D-BC00-6547F91173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2FA77C-173B-4ECC-9242-992B369B7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12302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768BD67-5475-42A8-A4B4-36BD4F066A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8056516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Section Header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12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4618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Full Width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366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144434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71228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283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73490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7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23274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Section Header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0759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0062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Full Width Overvie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07254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2909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93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2664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4524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0070C0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6"/>
            <a:ext cx="3448800" cy="3447288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0269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428256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68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D. 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956752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334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1268760"/>
            <a:ext cx="6815667" cy="485740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268760"/>
            <a:ext cx="4011084" cy="485740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7CBFF2-52EA-42FC-9E65-B906936D3B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801217723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D. Full Width Overvie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26856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rgbClr val="0070C0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rgbClr val="0070C0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09513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0156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8357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D. Table of Content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41897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77113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wo-Third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9680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507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D. Table of Contents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54788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rgbClr val="0070C0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3713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880000" y="36001"/>
            <a:ext cx="2844800" cy="365125"/>
          </a:xfrm>
          <a:prstGeom prst="rect">
            <a:avLst/>
          </a:prstGeom>
        </p:spPr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B2DE76-B807-483C-A205-88E9D939A3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40486876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5"/>
          <p:cNvSpPr>
            <a:spLocks noGrp="1"/>
          </p:cNvSpPr>
          <p:nvPr>
            <p:ph type="tbl" sz="quarter" idx="10"/>
          </p:nvPr>
        </p:nvSpPr>
        <p:spPr>
          <a:xfrm>
            <a:off x="911425" y="1124747"/>
            <a:ext cx="10177131" cy="5040559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DEEBAC8-B1E0-4886-AB2D-153086C29E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531763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low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89F1B26-40E6-4CAE-8C6C-21FFFE4BD39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D4EB5F-BBDF-43AA-B322-DBC2BE2869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2F60A20-0281-4C43-BE27-B924D0E7ED17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83863AB-DB4E-4C36-8CA5-17ACC71D4F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</p:spPr>
        <p:txBody>
          <a:bodyPr/>
          <a:lstStyle>
            <a:lvl1pPr>
              <a:defRPr sz="1800" b="0">
                <a:solidFill>
                  <a:schemeClr val="tx1"/>
                </a:solidFill>
              </a:defRPr>
            </a:lvl1pPr>
            <a:lvl2pPr>
              <a:defRPr sz="1500" b="0">
                <a:solidFill>
                  <a:schemeClr val="tx1"/>
                </a:solidFill>
              </a:defRPr>
            </a:lvl2pPr>
            <a:lvl3pPr>
              <a:defRPr sz="1350" b="0"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9FE2E9-EA17-4993-81DE-DC9234476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5691034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layout no lower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39025CA-D659-4F0E-B2BC-5670EA697D78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1446E3-8C4A-42E7-BE9B-A20FE15EBB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FA838B6A-6053-4332-A15B-E3F8897A0702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911425" y="1124747"/>
            <a:ext cx="10177131" cy="5040559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E78A6AA-4739-4B5C-AD8B-DCA3F0FE96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42726153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layout no lower bar with tab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A39025CA-D659-4F0E-B2BC-5670EA697D78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1446E3-8C4A-42E7-BE9B-A20FE15EBB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Table Placeholder 5">
            <a:extLst>
              <a:ext uri="{FF2B5EF4-FFF2-40B4-BE49-F238E27FC236}">
                <a16:creationId xmlns:a16="http://schemas.microsoft.com/office/drawing/2014/main" id="{FA838B6A-6053-4332-A15B-E3F8897A0702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89463" y="2144684"/>
            <a:ext cx="10199094" cy="4020622"/>
          </a:xfrm>
        </p:spPr>
        <p:txBody>
          <a:bodyPr/>
          <a:lstStyle/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57CEFB6B-53C1-42B9-9BF3-642691AACDC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1" y="1469880"/>
            <a:ext cx="10972800" cy="408794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FI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67739B6-62DA-4225-8C3D-4F7FFB737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260595298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Narrow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4A45DB-BEFD-4107-922A-A2B91DA72F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61904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FI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3A92B49-EFFB-4EF1-85ED-7BEBA829EF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BA49CC-5D1D-4EB3-AEFB-0CAF5DA01019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A238319E-C55C-4C7D-9DE4-DF16081972E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770334" y="1261954"/>
            <a:ext cx="7812066" cy="4759338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F3E41DED-08E3-4145-AA90-BC9385880CF4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609601" y="1261954"/>
            <a:ext cx="2997895" cy="4759338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233295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EA215F-E308-4485-BD7A-A7B7B561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01B4-EA85-450A-9AD6-B22F81704C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14B0D1C-69A9-4DE5-A2EC-3AE23CBAB8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6432" y="1261953"/>
            <a:ext cx="5669535" cy="5365588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E36CC0-0CEE-4F7D-BD64-E12742EC33CD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8B041D-E134-4B62-A4BC-A12CE4E3589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6033" y="1261955"/>
            <a:ext cx="5669534" cy="1493945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CA7F43-0C57-4B08-B5FB-65BC8E5CFF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46033" y="2826645"/>
            <a:ext cx="5669534" cy="3800897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F9657-5C8B-4EEF-A1B6-DCE306850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33" y="48210"/>
            <a:ext cx="11499934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96775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Three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EA215F-E308-4485-BD7A-A7B7B56124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5EF2332-01BF-834F-8236-50238282D533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A401B4-EA85-450A-9AD6-B22F81704CB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241EB5C9-1307-BA42-ABA2-0BC069CD8E7F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14B0D1C-69A9-4DE5-A2EC-3AE23CBAB8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76432" y="1670857"/>
            <a:ext cx="5669535" cy="4956683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0E36CC0-0CEE-4F7D-BD64-E12742EC33CD}"/>
              </a:ext>
            </a:extLst>
          </p:cNvPr>
          <p:cNvSpPr/>
          <p:nvPr userDrawn="1"/>
        </p:nvSpPr>
        <p:spPr>
          <a:xfrm>
            <a:off x="0" y="5877768"/>
            <a:ext cx="12192000" cy="9802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3D8B041D-E134-4B62-A4BC-A12CE4E3589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6033" y="1261955"/>
            <a:ext cx="5669534" cy="1817472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ECA7F43-0C57-4B08-B5FB-65BC8E5CFF2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46033" y="3150172"/>
            <a:ext cx="5669534" cy="3477370"/>
          </a:xfrm>
        </p:spPr>
        <p:txBody>
          <a:bodyPr/>
          <a:lstStyle>
            <a:lvl1pPr>
              <a:defRPr sz="2100" b="0"/>
            </a:lvl1pPr>
            <a:lvl2pPr>
              <a:defRPr sz="1800" b="0"/>
            </a:lvl2pPr>
            <a:lvl3pPr>
              <a:defRPr sz="1500" b="0"/>
            </a:lvl3pPr>
            <a:lvl4pPr>
              <a:defRPr sz="1350" b="0"/>
            </a:lvl4pPr>
            <a:lvl5pPr>
              <a:defRPr sz="1350" b="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D1F9657-5C8B-4EEF-A1B6-DCE306850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033" y="48210"/>
            <a:ext cx="11499934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3B3A65B-C338-407C-869F-D257AB93E55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76432" y="1262063"/>
            <a:ext cx="5669533" cy="408794"/>
          </a:xfrm>
        </p:spPr>
        <p:txBody>
          <a:bodyPr/>
          <a:lstStyle>
            <a:lvl1pPr marL="0" indent="0"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8727694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B857C-87D2-41A9-B9EE-BD14178C23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EE1A72-97D1-4145-BD43-9B02731BB6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E83C57-B427-4095-9104-7809D1DF9B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D545C-3E3E-409D-9152-5B7FFBF22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98D262-F000-404E-8F61-BEEBCD7B7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99867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226190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6331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82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A532677-E65B-4566-93A2-AD647FA001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5557" y="6186486"/>
            <a:ext cx="8281260" cy="215444"/>
          </a:xfrm>
        </p:spPr>
        <p:txBody>
          <a:bodyPr/>
          <a:lstStyle>
            <a:lvl1pPr algn="r">
              <a:defRPr sz="1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43">
            <a:extLst>
              <a:ext uri="{FF2B5EF4-FFF2-40B4-BE49-F238E27FC236}">
                <a16:creationId xmlns:a16="http://schemas.microsoft.com/office/drawing/2014/main" id="{C3FD8990-F0E7-4DC9-B259-650EBB63BC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15557" y="5754521"/>
            <a:ext cx="8281260" cy="307777"/>
          </a:xfrm>
        </p:spPr>
        <p:txBody>
          <a:bodyPr/>
          <a:lstStyle>
            <a:lvl1pPr algn="r">
              <a:defRPr sz="2000">
                <a:solidFill>
                  <a:srgbClr val="31859C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id="{7A04607A-1F02-4FB2-A4A0-2D972895B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5557" y="5020935"/>
            <a:ext cx="8281260" cy="609398"/>
          </a:xfrm>
        </p:spPr>
        <p:txBody>
          <a:bodyPr vert="horz" anchor="b" anchorCtr="0">
            <a:noAutofit/>
          </a:bodyPr>
          <a:lstStyle>
            <a:lvl1pPr algn="r"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37CEC2-F9C0-431A-9F8F-8501AC8EE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35741"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2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88EF980E-8948-4B44-B22F-EDDB4CDF10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778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DA711-294A-40E1-B4D7-DC38A1349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318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DDA711-294A-40E1-B4D7-DC38A1349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" name="Google Shape;1119;g1333d8a84ac_0_2245"/>
          <p:cNvSpPr txBox="1">
            <a:spLocks noGrp="1"/>
          </p:cNvSpPr>
          <p:nvPr>
            <p:ph type="title"/>
          </p:nvPr>
        </p:nvSpPr>
        <p:spPr>
          <a:xfrm>
            <a:off x="547687" y="432001"/>
            <a:ext cx="110871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lang="en-US" sz="2500" b="0" kern="1200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1120" name="Google Shape;1120;g1333d8a84ac_0_2245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38828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1_Title Only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DA711-294A-40E1-B4D7-DC38A1349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9465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DDA711-294A-40E1-B4D7-DC38A1349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" name="Google Shape;1119;g1333d8a84ac_0_2245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lang="en-US" sz="2500" b="0" kern="1200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1120" name="Google Shape;1120;g1333d8a84ac_0_2245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405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0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515557" y="6186486"/>
            <a:ext cx="828126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400" dirty="0"/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15557" y="5788376"/>
            <a:ext cx="828126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2000" dirty="0">
                <a:solidFill>
                  <a:schemeClr val="accent2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15557" y="5020935"/>
            <a:ext cx="828126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44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058562C-4E35-4638-99AB-34F814EC46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b="35741"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6132EA0-E80F-4FE0-96AC-5AF8296AF6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31784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Google Shape;1120;g1333d8a84ac_0_2245">
            <a:extLst>
              <a:ext uri="{FF2B5EF4-FFF2-40B4-BE49-F238E27FC236}">
                <a16:creationId xmlns:a16="http://schemas.microsoft.com/office/drawing/2014/main" id="{EFB0BB52-423E-4DD8-A3D7-DD36EB754276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1218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06119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583338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7661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B9D742F2-5C08-4CDE-9195-4FF065EE9D3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354453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5253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9C1C887-527A-454E-A1EC-D24BAC2C9581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1C01F9-30F8-4452-A3D1-F1F26411FE40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4736" y="3680016"/>
            <a:ext cx="1163726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57508"/>
            <a:ext cx="11082528" cy="677108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Google Shape;1120;g1333d8a84ac_0_2245">
            <a:extLst>
              <a:ext uri="{FF2B5EF4-FFF2-40B4-BE49-F238E27FC236}">
                <a16:creationId xmlns:a16="http://schemas.microsoft.com/office/drawing/2014/main" id="{0AFDEF19-D536-4896-82C6-DDF4EC0D47F9}"/>
              </a:ext>
            </a:extLst>
          </p:cNvPr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48187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2552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1D4387D-3F9E-44FB-B15D-91BAEB1229BB}"/>
              </a:ext>
            </a:extLst>
          </p:cNvPr>
          <p:cNvSpPr/>
          <p:nvPr userDrawn="1"/>
        </p:nvSpPr>
        <p:spPr>
          <a:xfrm>
            <a:off x="0" y="4003040"/>
            <a:ext cx="12192000" cy="285496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C3C407-ACE3-40C6-89A6-38F72481FA6B}"/>
              </a:ext>
            </a:extLst>
          </p:cNvPr>
          <p:cNvGrpSpPr/>
          <p:nvPr userDrawn="1"/>
        </p:nvGrpSpPr>
        <p:grpSpPr>
          <a:xfrm>
            <a:off x="0" y="1"/>
            <a:ext cx="12192000" cy="5867335"/>
            <a:chOff x="0" y="1"/>
            <a:chExt cx="12192000" cy="586733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F711CB9-347A-4E02-9D18-8EF91F197C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rcRect b="14445"/>
            <a:stretch>
              <a:fillRect/>
            </a:stretch>
          </p:blipFill>
          <p:spPr>
            <a:xfrm>
              <a:off x="0" y="1"/>
              <a:ext cx="12192000" cy="5867335"/>
            </a:xfrm>
            <a:custGeom>
              <a:avLst/>
              <a:gdLst>
                <a:gd name="connsiteX0" fmla="*/ 0 w 12192000"/>
                <a:gd name="connsiteY0" fmla="*/ 0 h 5867335"/>
                <a:gd name="connsiteX1" fmla="*/ 12192000 w 12192000"/>
                <a:gd name="connsiteY1" fmla="*/ 0 h 5867335"/>
                <a:gd name="connsiteX2" fmla="*/ 12192000 w 12192000"/>
                <a:gd name="connsiteY2" fmla="*/ 4945992 h 5867335"/>
                <a:gd name="connsiteX3" fmla="*/ 3150413 w 12192000"/>
                <a:gd name="connsiteY3" fmla="*/ 4945992 h 5867335"/>
                <a:gd name="connsiteX4" fmla="*/ 2217725 w 12192000"/>
                <a:gd name="connsiteY4" fmla="*/ 5867335 h 5867335"/>
                <a:gd name="connsiteX5" fmla="*/ 2217725 w 12192000"/>
                <a:gd name="connsiteY5" fmla="*/ 4945992 h 5867335"/>
                <a:gd name="connsiteX6" fmla="*/ 0 w 12192000"/>
                <a:gd name="connsiteY6" fmla="*/ 4945992 h 586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5867335">
                  <a:moveTo>
                    <a:pt x="0" y="0"/>
                  </a:moveTo>
                  <a:lnTo>
                    <a:pt x="12192000" y="0"/>
                  </a:lnTo>
                  <a:lnTo>
                    <a:pt x="12192000" y="4945992"/>
                  </a:lnTo>
                  <a:lnTo>
                    <a:pt x="3150413" y="4945992"/>
                  </a:lnTo>
                  <a:lnTo>
                    <a:pt x="2217725" y="5867335"/>
                  </a:lnTo>
                  <a:lnTo>
                    <a:pt x="2217725" y="4945992"/>
                  </a:lnTo>
                  <a:lnTo>
                    <a:pt x="0" y="4945992"/>
                  </a:lnTo>
                  <a:close/>
                </a:path>
              </a:pathLst>
            </a:cu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BA1D677-019C-48C9-8AC8-2569322FB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H="1">
              <a:off x="6797461" y="101443"/>
              <a:ext cx="769257" cy="10019821"/>
            </a:xfrm>
            <a:custGeom>
              <a:avLst/>
              <a:gdLst>
                <a:gd name="connsiteX0" fmla="*/ 0 w 769257"/>
                <a:gd name="connsiteY0" fmla="*/ 0 h 10019821"/>
                <a:gd name="connsiteX1" fmla="*/ 0 w 769257"/>
                <a:gd name="connsiteY1" fmla="*/ 4631160 h 10019821"/>
                <a:gd name="connsiteX2" fmla="*/ 216750 w 769257"/>
                <a:gd name="connsiteY2" fmla="*/ 999646 h 10019821"/>
                <a:gd name="connsiteX3" fmla="*/ 197800 w 769257"/>
                <a:gd name="connsiteY3" fmla="*/ 10019821 h 10019821"/>
                <a:gd name="connsiteX4" fmla="*/ 769257 w 769257"/>
                <a:gd name="connsiteY4" fmla="*/ 10019821 h 10019821"/>
                <a:gd name="connsiteX5" fmla="*/ 769257 w 769257"/>
                <a:gd name="connsiteY5" fmla="*/ 0 h 100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9257" h="10019821">
                  <a:moveTo>
                    <a:pt x="0" y="0"/>
                  </a:moveTo>
                  <a:lnTo>
                    <a:pt x="0" y="4631160"/>
                  </a:lnTo>
                  <a:lnTo>
                    <a:pt x="216750" y="999646"/>
                  </a:lnTo>
                  <a:lnTo>
                    <a:pt x="197800" y="10019821"/>
                  </a:lnTo>
                  <a:lnTo>
                    <a:pt x="769257" y="10019821"/>
                  </a:lnTo>
                  <a:lnTo>
                    <a:pt x="769257" y="0"/>
                  </a:lnTo>
                  <a:close/>
                </a:path>
              </a:pathLst>
            </a:custGeom>
          </p:spPr>
        </p:pic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2327378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3055779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1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35111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359530-C9C2-43D0-A6A8-7AB3D9497A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4E2B85E-16F7-468F-AB01-E7AA824FA4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7BAE9D7-C0CB-42F6-8204-2E5E4E7708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6F1AA9-91B5-48CD-B96D-2CD77B2F57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99F8AB-57CC-4F28-9492-1768B5DA94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4F3363-2705-4DC9-92A1-B9E335857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1613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9915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F72885E-0DE3-40A0-BBC8-570EC4E0B6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616117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27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1BE8F80-333F-4BC6-871F-362BC46867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923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4665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CA7FC9E0-EFDE-4AF5-ACAA-3B4E0228DDA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28529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7410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94D5D5DE-55B8-48D5-B42B-BF9B0174FE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826775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91290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accent1">
              <a:lumMod val="10000"/>
              <a:lumOff val="90000"/>
            </a:scheme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A182C6BE-C047-4648-9A4A-E6C74AC67C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042554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4619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D5996A-E029-4838-81BD-B92B8057FE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26359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964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5238648-50CB-434F-867C-9AE225EA10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663543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77B9134-120A-492B-A83F-F8AB9563AC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0" y="0"/>
            <a:ext cx="121913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3C9D2F-3AE3-47DC-B727-1ECBC19B76BF}"/>
              </a:ext>
            </a:extLst>
          </p:cNvPr>
          <p:cNvSpPr txBox="1"/>
          <p:nvPr userDrawn="1"/>
        </p:nvSpPr>
        <p:spPr bwMode="ltGray">
          <a:xfrm>
            <a:off x="1016059" y="4840064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err="1">
                <a:latin typeface="+mn-lt"/>
                <a:ea typeface="+mn-ea"/>
                <a:cs typeface="+mn-cs"/>
              </a:rPr>
              <a:t>WorldBankSouthAsia</a:t>
            </a:r>
            <a:endParaRPr lang="en-US" sz="2000"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Image result for facebook twitter logos">
            <a:extLst>
              <a:ext uri="{FF2B5EF4-FFF2-40B4-BE49-F238E27FC236}">
                <a16:creationId xmlns:a16="http://schemas.microsoft.com/office/drawing/2014/main" id="{E7AE9AAF-DFCE-4638-9BFF-16D644488E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17"/>
          <a:stretch/>
        </p:blipFill>
        <p:spPr bwMode="ltGray">
          <a:xfrm>
            <a:off x="260612" y="4699000"/>
            <a:ext cx="69195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Image result for facebook twitter logos">
            <a:extLst>
              <a:ext uri="{FF2B5EF4-FFF2-40B4-BE49-F238E27FC236}">
                <a16:creationId xmlns:a16="http://schemas.microsoft.com/office/drawing/2014/main" id="{1F4A1B3E-833A-4224-8268-39F1ECEC5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0" r="22830"/>
          <a:stretch/>
        </p:blipFill>
        <p:spPr bwMode="ltGray">
          <a:xfrm>
            <a:off x="190607" y="5397500"/>
            <a:ext cx="761956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Image result for @">
            <a:extLst>
              <a:ext uri="{FF2B5EF4-FFF2-40B4-BE49-F238E27FC236}">
                <a16:creationId xmlns:a16="http://schemas.microsoft.com/office/drawing/2014/main" id="{6AB90F17-024E-45CE-8037-E27092C086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02421" y="6106126"/>
            <a:ext cx="913638" cy="52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672D31B-4A3E-49EB-B1CD-F3726832351F}"/>
              </a:ext>
            </a:extLst>
          </p:cNvPr>
          <p:cNvSpPr txBox="1"/>
          <p:nvPr userDrawn="1"/>
        </p:nvSpPr>
        <p:spPr bwMode="ltGray">
          <a:xfrm>
            <a:off x="825570" y="5538565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err="1">
                <a:latin typeface="+mn-lt"/>
                <a:ea typeface="+mn-ea"/>
                <a:cs typeface="+mn-cs"/>
              </a:rPr>
              <a:t>WorldBankSasia</a:t>
            </a:r>
            <a:endParaRPr lang="en-US" sz="200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E5AA3D-FF7F-40D2-9708-F6BE31A67160}"/>
              </a:ext>
            </a:extLst>
          </p:cNvPr>
          <p:cNvSpPr txBox="1"/>
          <p:nvPr userDrawn="1"/>
        </p:nvSpPr>
        <p:spPr bwMode="ltGray">
          <a:xfrm>
            <a:off x="952563" y="6203369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+mn-lt"/>
                <a:ea typeface="+mn-ea"/>
                <a:cs typeface="+mn-cs"/>
              </a:rPr>
              <a:t>worldbank.org/</a:t>
            </a:r>
            <a:r>
              <a:rPr lang="en-US" sz="2000" err="1">
                <a:latin typeface="+mn-lt"/>
                <a:ea typeface="+mn-ea"/>
                <a:cs typeface="+mn-cs"/>
              </a:rPr>
              <a:t>sar</a:t>
            </a:r>
            <a:endParaRPr lang="en-US" sz="200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503363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931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D77B9134-120A-492B-A83F-F8AB9563AC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700" y="0"/>
            <a:ext cx="121913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F3C9D2F-3AE3-47DC-B727-1ECBC19B76BF}"/>
              </a:ext>
            </a:extLst>
          </p:cNvPr>
          <p:cNvSpPr txBox="1"/>
          <p:nvPr userDrawn="1"/>
        </p:nvSpPr>
        <p:spPr bwMode="ltGray">
          <a:xfrm>
            <a:off x="1016059" y="4840064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+mn-lt"/>
                <a:ea typeface="+mn-ea"/>
                <a:cs typeface="+mn-cs"/>
              </a:rPr>
              <a:t>WorldBankSouthAsia</a:t>
            </a:r>
            <a:endParaRPr lang="en-GB" sz="2000">
              <a:latin typeface="+mn-lt"/>
              <a:ea typeface="+mn-ea"/>
              <a:cs typeface="+mn-cs"/>
            </a:endParaRPr>
          </a:p>
        </p:txBody>
      </p:sp>
      <p:pic>
        <p:nvPicPr>
          <p:cNvPr id="9" name="Picture 2" descr="Image result for facebook twitter logos">
            <a:extLst>
              <a:ext uri="{FF2B5EF4-FFF2-40B4-BE49-F238E27FC236}">
                <a16:creationId xmlns:a16="http://schemas.microsoft.com/office/drawing/2014/main" id="{E7AE9AAF-DFCE-4638-9BFF-16D644488ED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117"/>
          <a:stretch/>
        </p:blipFill>
        <p:spPr bwMode="ltGray">
          <a:xfrm>
            <a:off x="260612" y="4699000"/>
            <a:ext cx="691951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Image result for facebook twitter logos">
            <a:extLst>
              <a:ext uri="{FF2B5EF4-FFF2-40B4-BE49-F238E27FC236}">
                <a16:creationId xmlns:a16="http://schemas.microsoft.com/office/drawing/2014/main" id="{1F4A1B3E-833A-4224-8268-39F1ECEC51D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0" r="22830"/>
          <a:stretch/>
        </p:blipFill>
        <p:spPr bwMode="ltGray">
          <a:xfrm>
            <a:off x="190607" y="5397500"/>
            <a:ext cx="761956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Image result for @">
            <a:extLst>
              <a:ext uri="{FF2B5EF4-FFF2-40B4-BE49-F238E27FC236}">
                <a16:creationId xmlns:a16="http://schemas.microsoft.com/office/drawing/2014/main" id="{6AB90F17-024E-45CE-8037-E27092C086F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02421" y="6106126"/>
            <a:ext cx="913638" cy="527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672D31B-4A3E-49EB-B1CD-F3726832351F}"/>
              </a:ext>
            </a:extLst>
          </p:cNvPr>
          <p:cNvSpPr txBox="1"/>
          <p:nvPr userDrawn="1"/>
        </p:nvSpPr>
        <p:spPr bwMode="ltGray">
          <a:xfrm>
            <a:off x="825570" y="5538565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+mn-lt"/>
                <a:ea typeface="+mn-ea"/>
                <a:cs typeface="+mn-cs"/>
              </a:rPr>
              <a:t>WorldBankSasia</a:t>
            </a:r>
            <a:endParaRPr lang="en-GB" sz="2000"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E5AA3D-FF7F-40D2-9708-F6BE31A67160}"/>
              </a:ext>
            </a:extLst>
          </p:cNvPr>
          <p:cNvSpPr txBox="1"/>
          <p:nvPr userDrawn="1"/>
        </p:nvSpPr>
        <p:spPr bwMode="ltGray">
          <a:xfrm>
            <a:off x="952563" y="6203369"/>
            <a:ext cx="24128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latin typeface="+mn-lt"/>
                <a:ea typeface="+mn-ea"/>
                <a:cs typeface="+mn-cs"/>
              </a:rPr>
              <a:t>worldbank.org/sar</a:t>
            </a:r>
            <a:endParaRPr lang="en-GB" sz="2000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387105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37385-D582-47D7-89AB-A6D1FEC62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7525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37385-D582-47D7-89AB-A6D1FEC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3" name="Google Shape;853;g1333d8a84ac_0_1133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854" name="Google Shape;854;g1333d8a84ac_0_1133"/>
          <p:cNvSpPr txBox="1">
            <a:spLocks noGrp="1"/>
          </p:cNvSpPr>
          <p:nvPr>
            <p:ph type="body" idx="1"/>
          </p:nvPr>
        </p:nvSpPr>
        <p:spPr>
          <a:xfrm>
            <a:off x="442913" y="2103120"/>
            <a:ext cx="74184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  <p:sp>
        <p:nvSpPr>
          <p:cNvPr id="855" name="Google Shape;855;g1333d8a84ac_0_1133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9010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AE542E-BB78-48BB-8F00-0F8B8BAAF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A5DC43E-41C1-42CD-A321-A839050507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400D161-8D91-4867-BC9A-7AF693DAB6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329191-C82C-4AC2-B08E-2E5AA4F7EB7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9839168-A61F-4C34-925C-96E94A58C00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EB3A75-F886-4AAE-BD98-6B532FE0DB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ADCE17-458E-4219-8E48-DC4EAFD16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E0024C1-02A7-49D9-A5EC-284B4B8213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951681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0664C3C-115A-DC4F-908D-8F1DE1BC4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Helvetica" pitchFamily="2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A2270-38F6-C042-9B2B-C3FF75E33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0365D-8F08-40A7-B7EB-8016B46156F5}" type="datetime1">
              <a:rPr lang="en-US" smtClean="0"/>
              <a:t>9/7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6CC527-B0D7-4E48-B9FC-BB2B616AA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116146-ED12-424F-B554-DDF677579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17C75-F585-2347-AC82-92A60787E8D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0D617CD-AC31-BA42-8C34-628E9612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100" baseline="0"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F7311FDD-A44E-4FE0-B490-3AEB0569C63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220243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>
  <p:cSld name="Title and Full Content - Subtitl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0761B6-B60B-4A6C-970D-96E1FC563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032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0761B6-B60B-4A6C-970D-96E1FC563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6" name="Google Shape;646;g1333d8a84ac_0_926"/>
          <p:cNvSpPr txBox="1">
            <a:spLocks noGrp="1"/>
          </p:cNvSpPr>
          <p:nvPr>
            <p:ph type="body" idx="1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  <p:sp>
        <p:nvSpPr>
          <p:cNvPr id="647" name="Google Shape;647;g1333d8a84ac_0_926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648" name="Google Shape;648;g1333d8a84ac_0_926"/>
          <p:cNvSpPr txBox="1">
            <a:spLocks noGrp="1"/>
          </p:cNvSpPr>
          <p:nvPr>
            <p:ph type="sldNum" idx="12"/>
          </p:nvPr>
        </p:nvSpPr>
        <p:spPr>
          <a:xfrm>
            <a:off x="8218489" y="6492240"/>
            <a:ext cx="3530700" cy="137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50"/>
              <a:buFont typeface="Arial"/>
              <a:buNone/>
              <a:defRPr sz="75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49" name="Google Shape;649;g1333d8a84ac_0_926"/>
          <p:cNvSpPr txBox="1">
            <a:spLocks noGrp="1"/>
          </p:cNvSpPr>
          <p:nvPr>
            <p:ph type="subTitle" idx="2"/>
          </p:nvPr>
        </p:nvSpPr>
        <p:spPr>
          <a:xfrm>
            <a:off x="442912" y="933433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22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fld id="{0DEB7A82-D40E-4B87-A75D-22E86AC1ADE2}" type="datetime1">
              <a:rPr lang="en-US" smtClean="0"/>
              <a:t>9/7/2024</a:t>
            </a:fld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5B4E0C64-F5C4-47E1-B9CC-C75A388E7B1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6204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8F37D5-C9D9-7240-89E7-0300510048EC}"/>
              </a:ext>
            </a:extLst>
          </p:cNvPr>
          <p:cNvCxnSpPr/>
          <p:nvPr userDrawn="1"/>
        </p:nvCxnSpPr>
        <p:spPr>
          <a:xfrm>
            <a:off x="387350" y="720870"/>
            <a:ext cx="0" cy="317500"/>
          </a:xfrm>
          <a:prstGeom prst="line">
            <a:avLst/>
          </a:prstGeom>
          <a:ln w="12700">
            <a:solidFill>
              <a:srgbClr val="008D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EA2816ED-CA67-3B45-B5CC-9B22D1BC864D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14426" y="1382267"/>
            <a:ext cx="10126124" cy="246221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487E04A-9944-E749-813E-77947D65320A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14420" y="1972386"/>
            <a:ext cx="6858000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SzPct val="67000"/>
              <a:buFontTx/>
              <a:buBlip>
                <a:blip r:embed="rId2"/>
              </a:buBlip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List item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5B152B-B947-124E-BC00-B45431A2526B}"/>
              </a:ext>
            </a:extLst>
          </p:cNvPr>
          <p:cNvSpPr/>
          <p:nvPr userDrawn="1"/>
        </p:nvSpPr>
        <p:spPr>
          <a:xfrm>
            <a:off x="0" y="6346825"/>
            <a:ext cx="12192000" cy="514350"/>
          </a:xfrm>
          <a:prstGeom prst="rect">
            <a:avLst/>
          </a:prstGeom>
          <a:solidFill>
            <a:srgbClr val="008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19973B1-8F7D-7642-8087-9E57F2D038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420" y="671871"/>
            <a:ext cx="10126120" cy="415498"/>
          </a:xfrm>
          <a:prstGeom prst="rect">
            <a:avLst/>
          </a:prstGeom>
        </p:spPr>
        <p:txBody>
          <a:bodyPr lIns="0" anchor="ctr" anchorCtr="0"/>
          <a:lstStyle>
            <a:lvl1pPr>
              <a:defRPr sz="27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12" name="Slide Number Placeholder 12">
            <a:extLst>
              <a:ext uri="{FF2B5EF4-FFF2-40B4-BE49-F238E27FC236}">
                <a16:creationId xmlns:a16="http://schemas.microsoft.com/office/drawing/2014/main" id="{0D0F6DDC-3049-984E-ACD8-553F49AC4BF2}"/>
              </a:ext>
            </a:extLst>
          </p:cNvPr>
          <p:cNvSpPr txBox="1">
            <a:spLocks/>
          </p:cNvSpPr>
          <p:nvPr userDrawn="1"/>
        </p:nvSpPr>
        <p:spPr>
          <a:xfrm>
            <a:off x="11683997" y="6356350"/>
            <a:ext cx="508001" cy="501650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1400" b="0" i="0" kern="1200">
                <a:solidFill>
                  <a:srgbClr val="0093D5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E38FAB-B259-F54A-9829-55A3B8FA4CAF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882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1E69C-EFB3-E448-A3A2-32CD4907E1B8}"/>
              </a:ext>
            </a:extLst>
          </p:cNvPr>
          <p:cNvCxnSpPr>
            <a:cxnSpLocks/>
          </p:cNvCxnSpPr>
          <p:nvPr userDrawn="1"/>
        </p:nvCxnSpPr>
        <p:spPr>
          <a:xfrm>
            <a:off x="387350" y="426720"/>
            <a:ext cx="0" cy="780288"/>
          </a:xfrm>
          <a:prstGeom prst="line">
            <a:avLst/>
          </a:prstGeom>
          <a:ln w="12700">
            <a:solidFill>
              <a:srgbClr val="008D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75302AB-E5B3-3843-B3DE-BE5713C040F9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14426" y="1530831"/>
            <a:ext cx="10126124" cy="246221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FEA7EF-615E-0C49-B5F5-FC208890B226}"/>
              </a:ext>
            </a:extLst>
          </p:cNvPr>
          <p:cNvSpPr/>
          <p:nvPr userDrawn="1"/>
        </p:nvSpPr>
        <p:spPr>
          <a:xfrm>
            <a:off x="0" y="6346825"/>
            <a:ext cx="12192000" cy="514350"/>
          </a:xfrm>
          <a:prstGeom prst="rect">
            <a:avLst/>
          </a:prstGeom>
          <a:solidFill>
            <a:srgbClr val="008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D26DF43-2493-AA43-9972-6C5A22879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420" y="401366"/>
            <a:ext cx="10126114" cy="830997"/>
          </a:xfrm>
          <a:prstGeom prst="rect">
            <a:avLst/>
          </a:prstGeom>
        </p:spPr>
        <p:txBody>
          <a:bodyPr lIns="0" anchor="ctr" anchorCtr="0"/>
          <a:lstStyle>
            <a:lvl1pPr>
              <a:defRPr sz="27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 over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9241AB4-C3BD-8049-B9B5-42EC67B5A54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4420" y="2120950"/>
            <a:ext cx="6858000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SzPct val="67000"/>
              <a:buFontTx/>
              <a:buBlip>
                <a:blip r:embed="rId2"/>
              </a:buBlip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List item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9CF5E3A6-4919-1249-AD41-B70BDBF1076F}"/>
              </a:ext>
            </a:extLst>
          </p:cNvPr>
          <p:cNvSpPr txBox="1">
            <a:spLocks/>
          </p:cNvSpPr>
          <p:nvPr userDrawn="1"/>
        </p:nvSpPr>
        <p:spPr>
          <a:xfrm>
            <a:off x="11683997" y="6356350"/>
            <a:ext cx="508001" cy="501650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1400" b="0" i="0" kern="1200">
                <a:solidFill>
                  <a:srgbClr val="0093D5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E38FAB-B259-F54A-9829-55A3B8FA4CAF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484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E2D1AF-AE52-C1DB-E640-A7706B406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BC4E7-1D8C-7941-8A3B-05A39825D8B8}" type="datetimeFigureOut">
              <a:rPr lang="en-US" smtClean="0"/>
              <a:t>9/7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C60E3D-E135-9B37-6479-B1BACD03D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1D02AF-3049-FC41-ADE5-584797A71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AE163-B8F2-3647-8997-93CEA7D954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59112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E2D1AF-AE52-C1DB-E640-A7706B406B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4BC4E7-1D8C-7941-8A3B-05A39825D8B8}" type="datetimeFigureOut">
              <a:rPr lang="en-IE" smtClean="0"/>
              <a:t>07/09/2024</a:t>
            </a:fld>
            <a:endParaRPr lang="en-I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BC60E3D-E135-9B37-6479-B1BACD03D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1D02AF-3049-FC41-ADE5-584797A71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8AE163-B8F2-3647-8997-93CEA7D95492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06898827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10664C3C-115A-DC4F-908D-8F1DE1BC4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>
                <a:latin typeface="Helvetica" pitchFamily="2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A2270-38F6-C042-9B2B-C3FF75E33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C0365D-8F08-40A7-B7EB-8016B46156F5}" type="datetime1">
              <a:rPr lang="en-US" smtClean="0"/>
              <a:t>9/7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6CC527-B0D7-4E48-B9FC-BB2B616AA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116146-ED12-424F-B554-DDF677579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B917C75-F585-2347-AC82-92A60787E8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0D617CD-AC31-BA42-8C34-628E9612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100" baseline="0"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F7311FDD-A44E-4FE0-B490-3AEB0569C63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862884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bg>
      <p:bgPr>
        <a:solidFill>
          <a:srgbClr val="002D5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FD173A-16AE-0D48-8B9F-F8FA86D54F57}"/>
              </a:ext>
            </a:extLst>
          </p:cNvPr>
          <p:cNvSpPr/>
          <p:nvPr userDrawn="1"/>
        </p:nvSpPr>
        <p:spPr>
          <a:xfrm>
            <a:off x="0" y="6343650"/>
            <a:ext cx="12192000" cy="514350"/>
          </a:xfrm>
          <a:prstGeom prst="rect">
            <a:avLst/>
          </a:prstGeom>
          <a:solidFill>
            <a:srgbClr val="008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0FB68EF-86F8-1A41-ADAE-157E95CBF4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8564" y="2959100"/>
            <a:ext cx="10542748" cy="815975"/>
          </a:xfrm>
          <a:prstGeom prst="rect">
            <a:avLst/>
          </a:prstGeom>
        </p:spPr>
        <p:txBody>
          <a:bodyPr anchor="ctr" anchorCtr="0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F89041D-8F3B-9943-9BDE-56F844F46DAE}"/>
              </a:ext>
            </a:extLst>
          </p:cNvPr>
          <p:cNvCxnSpPr>
            <a:cxnSpLocks/>
          </p:cNvCxnSpPr>
          <p:nvPr userDrawn="1"/>
        </p:nvCxnSpPr>
        <p:spPr>
          <a:xfrm>
            <a:off x="514350" y="2959100"/>
            <a:ext cx="0" cy="815975"/>
          </a:xfrm>
          <a:prstGeom prst="line">
            <a:avLst/>
          </a:prstGeom>
          <a:ln w="12700">
            <a:solidFill>
              <a:srgbClr val="008D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4002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221E69C-EFB3-E448-A3A2-32CD4907E1B8}"/>
              </a:ext>
            </a:extLst>
          </p:cNvPr>
          <p:cNvCxnSpPr>
            <a:cxnSpLocks/>
          </p:cNvCxnSpPr>
          <p:nvPr userDrawn="1"/>
        </p:nvCxnSpPr>
        <p:spPr>
          <a:xfrm>
            <a:off x="387350" y="426720"/>
            <a:ext cx="0" cy="780288"/>
          </a:xfrm>
          <a:prstGeom prst="line">
            <a:avLst/>
          </a:prstGeom>
          <a:ln w="12700">
            <a:solidFill>
              <a:srgbClr val="008D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13">
            <a:extLst>
              <a:ext uri="{FF2B5EF4-FFF2-40B4-BE49-F238E27FC236}">
                <a16:creationId xmlns:a16="http://schemas.microsoft.com/office/drawing/2014/main" id="{D75302AB-E5B3-3843-B3DE-BE5713C040F9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14426" y="1523137"/>
            <a:ext cx="10126124" cy="26161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Subtit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EFEA7EF-615E-0C49-B5F5-FC208890B226}"/>
              </a:ext>
            </a:extLst>
          </p:cNvPr>
          <p:cNvSpPr/>
          <p:nvPr userDrawn="1"/>
        </p:nvSpPr>
        <p:spPr>
          <a:xfrm>
            <a:off x="0" y="6346825"/>
            <a:ext cx="12192000" cy="514350"/>
          </a:xfrm>
          <a:prstGeom prst="rect">
            <a:avLst/>
          </a:prstGeom>
          <a:solidFill>
            <a:srgbClr val="008D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D26DF43-2493-AA43-9972-6C5A2287932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4420" y="426720"/>
            <a:ext cx="10126114" cy="780288"/>
          </a:xfrm>
          <a:prstGeom prst="rect">
            <a:avLst/>
          </a:prstGeom>
        </p:spPr>
        <p:txBody>
          <a:bodyPr lIns="0" anchor="ctr" anchorCtr="0"/>
          <a:lstStyle>
            <a:lvl1pPr>
              <a:defRPr sz="2700" b="1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Title over </a:t>
            </a:r>
            <a:br>
              <a:rPr lang="en-US"/>
            </a:br>
            <a:r>
              <a:rPr lang="en-US"/>
              <a:t>two lin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9241AB4-C3BD-8049-B9B5-42EC67B5A54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14420" y="2120950"/>
            <a:ext cx="6858000" cy="5232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 marL="216000" indent="-216000">
              <a:buSzPct val="67000"/>
              <a:buFontTx/>
              <a:buBlip>
                <a:blip r:embed="rId2"/>
              </a:buBlip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List item</a:t>
            </a:r>
          </a:p>
        </p:txBody>
      </p:sp>
      <p:sp>
        <p:nvSpPr>
          <p:cNvPr id="9" name="Slide Number Placeholder 12">
            <a:extLst>
              <a:ext uri="{FF2B5EF4-FFF2-40B4-BE49-F238E27FC236}">
                <a16:creationId xmlns:a16="http://schemas.microsoft.com/office/drawing/2014/main" id="{9CF5E3A6-4919-1249-AD41-B70BDBF1076F}"/>
              </a:ext>
            </a:extLst>
          </p:cNvPr>
          <p:cNvSpPr txBox="1">
            <a:spLocks/>
          </p:cNvSpPr>
          <p:nvPr userDrawn="1"/>
        </p:nvSpPr>
        <p:spPr>
          <a:xfrm>
            <a:off x="11683997" y="6356350"/>
            <a:ext cx="508001" cy="501650"/>
          </a:xfrm>
          <a:prstGeom prst="rect">
            <a:avLst/>
          </a:prstGeom>
        </p:spPr>
        <p:txBody>
          <a:bodyPr lIns="0" tIns="0" rIns="0" bIns="0" anchor="ctr" anchorCtr="0"/>
          <a:lstStyle>
            <a:defPPr>
              <a:defRPr lang="en-US"/>
            </a:defPPr>
            <a:lvl1pPr marL="0" algn="ctr" defTabSz="914400" rtl="0" eaLnBrk="1" latinLnBrk="0" hangingPunct="1">
              <a:defRPr sz="1400" b="0" i="0" kern="1200">
                <a:solidFill>
                  <a:srgbClr val="0093D5"/>
                </a:solidFill>
                <a:latin typeface="Trebuchet MS" panose="020B070302020209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E38FAB-B259-F54A-9829-55A3B8FA4CAF}" type="slidenum">
              <a:rPr lang="en-US" smtClean="0">
                <a:solidFill>
                  <a:schemeClr val="bg1"/>
                </a:solidFill>
              </a:rPr>
              <a:pPr/>
              <a:t>‹#›</a:t>
            </a:fld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987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792186-5105-4B6D-A3B5-D8C7FFB59A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733454-2294-41CC-AC3D-B54E18234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2C0CEF7-4BE1-486D-AD19-C384C61154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F4DF132-1D36-4227-8DB0-DD3852C79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912616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22929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rrow two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95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95294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56821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AA532677-E65B-4566-93A2-AD647FA0013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15557" y="6186486"/>
            <a:ext cx="8281260" cy="215444"/>
          </a:xfrm>
        </p:spPr>
        <p:txBody>
          <a:bodyPr/>
          <a:lstStyle>
            <a:lvl1pPr algn="r">
              <a:defRPr sz="1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9" name="Text Placeholder 43">
            <a:extLst>
              <a:ext uri="{FF2B5EF4-FFF2-40B4-BE49-F238E27FC236}">
                <a16:creationId xmlns:a16="http://schemas.microsoft.com/office/drawing/2014/main" id="{C3FD8990-F0E7-4DC9-B259-650EBB63BC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15557" y="5754521"/>
            <a:ext cx="8281260" cy="307777"/>
          </a:xfrm>
        </p:spPr>
        <p:txBody>
          <a:bodyPr/>
          <a:lstStyle>
            <a:lvl1pPr algn="r">
              <a:defRPr sz="2000">
                <a:solidFill>
                  <a:srgbClr val="31859C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3" name="Title 4">
            <a:extLst>
              <a:ext uri="{FF2B5EF4-FFF2-40B4-BE49-F238E27FC236}">
                <a16:creationId xmlns:a16="http://schemas.microsoft.com/office/drawing/2014/main" id="{7A04607A-1F02-4FB2-A4A0-2D972895B6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5557" y="5020935"/>
            <a:ext cx="8281260" cy="609398"/>
          </a:xfrm>
        </p:spPr>
        <p:txBody>
          <a:bodyPr vert="horz" anchor="b" anchorCtr="0">
            <a:noAutofit/>
          </a:bodyPr>
          <a:lstStyle>
            <a:lvl1pPr algn="r">
              <a:defRPr sz="44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C37CEC2-F9C0-431A-9F8F-8501AC8EE3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b="35741"/>
          <a:stretch/>
        </p:blipFill>
        <p:spPr bwMode="ltGray">
          <a:xfrm>
            <a:off x="0" y="0"/>
            <a:ext cx="12192000" cy="4406900"/>
          </a:xfrm>
          <a:prstGeom prst="rect">
            <a:avLst/>
          </a:prstGeom>
        </p:spPr>
      </p:pic>
      <p:pic>
        <p:nvPicPr>
          <p:cNvPr id="2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88EF980E-8948-4B44-B22F-EDDB4CDF10F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264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rgbClr val="000000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9219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91838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13568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39C1C887-527A-454E-A1EC-D24BAC2C958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D1C01F9-30F8-4452-A3D1-F1F26411FE40}"/>
              </a:ext>
            </a:extLst>
          </p:cNvPr>
          <p:cNvCxnSpPr>
            <a:cxnSpLocks/>
          </p:cNvCxnSpPr>
          <p:nvPr userDrawn="1"/>
        </p:nvCxnSpPr>
        <p:spPr bwMode="white">
          <a:xfrm>
            <a:off x="554736" y="3680016"/>
            <a:ext cx="11637264" cy="0"/>
          </a:xfrm>
          <a:prstGeom prst="line">
            <a:avLst/>
          </a:prstGeom>
          <a:ln w="19050" cmpd="sng">
            <a:solidFill>
              <a:srgbClr val="FFFFFF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757508"/>
            <a:ext cx="11082528" cy="677108"/>
          </a:xfr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 sz="4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FFFFFF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35223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71D4387D-3F9E-44FB-B15D-91BAEB1229BB}"/>
              </a:ext>
            </a:extLst>
          </p:cNvPr>
          <p:cNvSpPr/>
          <p:nvPr userDrawn="1"/>
        </p:nvSpPr>
        <p:spPr>
          <a:xfrm>
            <a:off x="0" y="4003040"/>
            <a:ext cx="12192000" cy="2854960"/>
          </a:xfrm>
          <a:prstGeom prst="rect">
            <a:avLst/>
          </a:pr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C3C407-ACE3-40C6-89A6-38F72481FA6B}"/>
              </a:ext>
            </a:extLst>
          </p:cNvPr>
          <p:cNvGrpSpPr/>
          <p:nvPr userDrawn="1"/>
        </p:nvGrpSpPr>
        <p:grpSpPr>
          <a:xfrm>
            <a:off x="0" y="1"/>
            <a:ext cx="12192000" cy="5867335"/>
            <a:chOff x="0" y="1"/>
            <a:chExt cx="12192000" cy="5867335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BF711CB9-347A-4E02-9D18-8EF91F197C9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/>
            <a:srcRect b="14445"/>
            <a:stretch>
              <a:fillRect/>
            </a:stretch>
          </p:blipFill>
          <p:spPr>
            <a:xfrm>
              <a:off x="0" y="1"/>
              <a:ext cx="12192000" cy="5867335"/>
            </a:xfrm>
            <a:custGeom>
              <a:avLst/>
              <a:gdLst>
                <a:gd name="connsiteX0" fmla="*/ 0 w 12192000"/>
                <a:gd name="connsiteY0" fmla="*/ 0 h 5867335"/>
                <a:gd name="connsiteX1" fmla="*/ 12192000 w 12192000"/>
                <a:gd name="connsiteY1" fmla="*/ 0 h 5867335"/>
                <a:gd name="connsiteX2" fmla="*/ 12192000 w 12192000"/>
                <a:gd name="connsiteY2" fmla="*/ 4945992 h 5867335"/>
                <a:gd name="connsiteX3" fmla="*/ 3150413 w 12192000"/>
                <a:gd name="connsiteY3" fmla="*/ 4945992 h 5867335"/>
                <a:gd name="connsiteX4" fmla="*/ 2217725 w 12192000"/>
                <a:gd name="connsiteY4" fmla="*/ 5867335 h 5867335"/>
                <a:gd name="connsiteX5" fmla="*/ 2217725 w 12192000"/>
                <a:gd name="connsiteY5" fmla="*/ 4945992 h 5867335"/>
                <a:gd name="connsiteX6" fmla="*/ 0 w 12192000"/>
                <a:gd name="connsiteY6" fmla="*/ 4945992 h 58673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2192000" h="5867335">
                  <a:moveTo>
                    <a:pt x="0" y="0"/>
                  </a:moveTo>
                  <a:lnTo>
                    <a:pt x="12192000" y="0"/>
                  </a:lnTo>
                  <a:lnTo>
                    <a:pt x="12192000" y="4945992"/>
                  </a:lnTo>
                  <a:lnTo>
                    <a:pt x="3150413" y="4945992"/>
                  </a:lnTo>
                  <a:lnTo>
                    <a:pt x="2217725" y="5867335"/>
                  </a:lnTo>
                  <a:lnTo>
                    <a:pt x="2217725" y="4945992"/>
                  </a:lnTo>
                  <a:lnTo>
                    <a:pt x="0" y="4945992"/>
                  </a:lnTo>
                  <a:close/>
                </a:path>
              </a:pathLst>
            </a:cu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5BA1D677-019C-48C9-8AC8-2569322FB22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634" b="1258"/>
            <a:stretch/>
          </p:blipFill>
          <p:spPr>
            <a:xfrm rot="16200000" flipH="1">
              <a:off x="6797461" y="101443"/>
              <a:ext cx="769257" cy="10019821"/>
            </a:xfrm>
            <a:custGeom>
              <a:avLst/>
              <a:gdLst>
                <a:gd name="connsiteX0" fmla="*/ 0 w 769257"/>
                <a:gd name="connsiteY0" fmla="*/ 0 h 10019821"/>
                <a:gd name="connsiteX1" fmla="*/ 0 w 769257"/>
                <a:gd name="connsiteY1" fmla="*/ 4631160 h 10019821"/>
                <a:gd name="connsiteX2" fmla="*/ 216750 w 769257"/>
                <a:gd name="connsiteY2" fmla="*/ 999646 h 10019821"/>
                <a:gd name="connsiteX3" fmla="*/ 197800 w 769257"/>
                <a:gd name="connsiteY3" fmla="*/ 10019821 h 10019821"/>
                <a:gd name="connsiteX4" fmla="*/ 769257 w 769257"/>
                <a:gd name="connsiteY4" fmla="*/ 10019821 h 10019821"/>
                <a:gd name="connsiteX5" fmla="*/ 769257 w 769257"/>
                <a:gd name="connsiteY5" fmla="*/ 0 h 100198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69257" h="10019821">
                  <a:moveTo>
                    <a:pt x="0" y="0"/>
                  </a:moveTo>
                  <a:lnTo>
                    <a:pt x="0" y="4631160"/>
                  </a:lnTo>
                  <a:lnTo>
                    <a:pt x="216750" y="999646"/>
                  </a:lnTo>
                  <a:lnTo>
                    <a:pt x="197800" y="10019821"/>
                  </a:lnTo>
                  <a:lnTo>
                    <a:pt x="769257" y="10019821"/>
                  </a:lnTo>
                  <a:lnTo>
                    <a:pt x="769257" y="0"/>
                  </a:lnTo>
                  <a:close/>
                </a:path>
              </a:pathLst>
            </a:custGeom>
          </p:spPr>
        </p:pic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2301217"/>
            <a:ext cx="9180576" cy="549381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>
                <a:solidFill>
                  <a:srgbClr val="FFFFFF"/>
                </a:solidFill>
              </a:defRPr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3055779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FFFFF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FFFFF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FFFFFF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26485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F72885E-0DE3-40A0-BBC8-570EC4E0B6F7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753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solidFill>
                  <a:srgbClr val="002060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1BE8F80-333F-4BC6-871F-362BC468671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7415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5BF1035-3181-48CA-8FD1-69589E9EA6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96FB88-8D6D-4F8C-9421-A1175652F6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BE33E0E-CA21-433C-996C-2C7272FF3E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580856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CA7FC9E0-EFDE-4AF5-ACAA-3B4E0228DDA9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44524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94D5D5DE-55B8-48D5-B42B-BF9B0174FE84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70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D6E3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/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u="none" baseline="0">
                <a:solidFill>
                  <a:srgbClr val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A182C6BE-C047-4648-9A4A-E6C74AC67C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5592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989512"/>
          </a:xfrm>
        </p:spPr>
        <p:txBody>
          <a:bodyPr vert="horz">
            <a:noAutofit/>
          </a:bodyPr>
          <a:lstStyle>
            <a:lvl1pPr rtl="0">
              <a:defRPr>
                <a:solidFill>
                  <a:srgbClr val="002060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0D5996A-E029-4838-81BD-B92B8057FE1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898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0000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rgbClr val="000000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pic>
        <p:nvPicPr>
          <p:cNvPr id="6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C89051B-E786-42AA-B6F2-180B9042A8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470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 preserve="1">
  <p:cSld name="Title Only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DDA711-294A-40E1-B4D7-DC38A13495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DDA711-294A-40E1-B4D7-DC38A13495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19" name="Google Shape;1119;g1333d8a84ac_0_2245"/>
          <p:cNvSpPr txBox="1">
            <a:spLocks noGrp="1"/>
          </p:cNvSpPr>
          <p:nvPr>
            <p:ph type="title"/>
          </p:nvPr>
        </p:nvSpPr>
        <p:spPr>
          <a:xfrm>
            <a:off x="442913" y="432001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64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 preserve="1">
  <p:cSld name="Title and Content 1"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9B37385-D582-47D7-89AB-A6D1FEC623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9B37385-D582-47D7-89AB-A6D1FEC623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3" name="Google Shape;853;g1333d8a84ac_0_1133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854" name="Google Shape;854;g1333d8a84ac_0_1133"/>
          <p:cNvSpPr txBox="1">
            <a:spLocks noGrp="1"/>
          </p:cNvSpPr>
          <p:nvPr>
            <p:ph type="body" idx="1"/>
          </p:nvPr>
        </p:nvSpPr>
        <p:spPr>
          <a:xfrm>
            <a:off x="442913" y="2103120"/>
            <a:ext cx="74184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2915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 preserve="1">
  <p:cSld name="Title and Content"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960DF3C-ABC6-4BEA-B96E-7042FC5BA8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960DF3C-ABC6-4BEA-B96E-7042FC5BA8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4" name="Google Shape;514;g1333d8a84ac_0_794"/>
          <p:cNvSpPr txBox="1">
            <a:spLocks noGrp="1"/>
          </p:cNvSpPr>
          <p:nvPr>
            <p:ph type="title"/>
          </p:nvPr>
        </p:nvSpPr>
        <p:spPr>
          <a:xfrm>
            <a:off x="442913" y="432000"/>
            <a:ext cx="11306100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515" name="Google Shape;515;g1333d8a84ac_0_794"/>
          <p:cNvSpPr txBox="1">
            <a:spLocks noGrp="1"/>
          </p:cNvSpPr>
          <p:nvPr>
            <p:ph type="body" idx="1"/>
          </p:nvPr>
        </p:nvSpPr>
        <p:spPr>
          <a:xfrm>
            <a:off x="442913" y="2103120"/>
            <a:ext cx="7418400" cy="407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87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 preserve="1">
  <p:cSld name="Title and Full Content - Subtitle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0761B6-B60B-4A6C-970D-96E1FC5630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84" imgH="486" progId="TCLayout.ActiveDocument.1">
                  <p:embed/>
                </p:oleObj>
              </mc:Choice>
              <mc:Fallback>
                <p:oleObj name="think-cell Slide" r:id="rId3" imgW="484" imgH="48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0761B6-B60B-4A6C-970D-96E1FC5630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6" name="Google Shape;646;g1333d8a84ac_0_926"/>
          <p:cNvSpPr txBox="1">
            <a:spLocks noGrp="1"/>
          </p:cNvSpPr>
          <p:nvPr>
            <p:ph type="body" idx="1"/>
          </p:nvPr>
        </p:nvSpPr>
        <p:spPr>
          <a:xfrm>
            <a:off x="442913" y="2103438"/>
            <a:ext cx="11306100" cy="406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30200" algn="l" rtl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  <p:sp>
        <p:nvSpPr>
          <p:cNvPr id="647" name="Google Shape;647;g1333d8a84ac_0_926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00" cy="502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lang="en-US"/>
          </a:p>
        </p:txBody>
      </p:sp>
      <p:sp>
        <p:nvSpPr>
          <p:cNvPr id="649" name="Google Shape;649;g1333d8a84ac_0_926"/>
          <p:cNvSpPr txBox="1">
            <a:spLocks noGrp="1"/>
          </p:cNvSpPr>
          <p:nvPr>
            <p:ph type="subTitle" idx="2"/>
          </p:nvPr>
        </p:nvSpPr>
        <p:spPr>
          <a:xfrm>
            <a:off x="442912" y="933433"/>
            <a:ext cx="11306100" cy="885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7F7F7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1787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572F9E-E3D0-4972-90F9-6F05396855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B7C4E4-AA2C-40F6-A31E-6F5F7740A1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9343E37-5A7A-41A4-B3FB-CB08A72438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5CD692E-4DB0-4473-BCA1-C1B525ACB9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DBCC4A-1E15-4423-AA3E-CE6BA4414B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2FF5F7D-6850-4568-B31C-755841F145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53332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Copyright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rgbClr val="7F7F7F"/>
                </a:solidFill>
                <a:latin typeface="+mn-lt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rgbClr val="7F7F7F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 vert="horz"/>
          <a:lstStyle>
            <a:lvl1pPr>
              <a:defRPr>
                <a:solidFill>
                  <a:srgbClr val="002060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643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>
            <a:extLst>
              <a:ext uri="{FF2B5EF4-FFF2-40B4-BE49-F238E27FC236}">
                <a16:creationId xmlns:a16="http://schemas.microsoft.com/office/drawing/2014/main" id="{10664C3C-115A-DC4F-908D-8F1DE1BC4D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36933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0000"/>
                </a:solidFill>
                <a:latin typeface="Helvetica" pitchFamily="2" charset="0"/>
                <a:cs typeface="Times New Roman" panose="02020603050405020304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FCA2270-38F6-C042-9B2B-C3FF75E332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C1667F44-6FE5-B147-8897-B6B459A9CA66}" type="datetime1">
              <a:rPr lang="en-US" smtClean="0"/>
              <a:pPr/>
              <a:t>9/8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36CC527-B0D7-4E48-B9FC-BB2B616AA4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116146-ED12-424F-B554-DDF677579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6B917C75-F585-2347-AC82-92A60787E8D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0D617CD-AC31-BA42-8C34-628E961212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 spc="-100" baseline="0">
                <a:solidFill>
                  <a:srgbClr val="002060"/>
                </a:solidFill>
                <a:latin typeface="Helvetica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3475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133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94919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083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8" y="2085628"/>
            <a:ext cx="11082528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66893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2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388434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35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4576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9133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81721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ext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083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078" y="2085628"/>
            <a:ext cx="11082528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Title 4"/>
          <p:cNvSpPr>
            <a:spLocks noGrp="1"/>
          </p:cNvSpPr>
          <p:nvPr>
            <p:ph type="title" hasCustomPrompt="1"/>
          </p:nvPr>
        </p:nvSpPr>
        <p:spPr>
          <a:xfrm>
            <a:off x="457079" y="421353"/>
            <a:ext cx="11082528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8344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ray slice heading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926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vert="horz" wrap="square" lIns="0" tIns="0" rIns="320040" bIns="0" anchor="b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644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header box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358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GB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  <a:endParaRPr lang="en-US" sz="7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1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36651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C1C9E5-21E2-41A5-A35F-6F7EE111F9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7E0A9B3-6CFC-4806-8B9E-8C9310BC8EF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3231A3B-A816-4B27-8DCC-3BDE4F24730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5EBFBC5-3DFC-4669-B333-37B56DFB8C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1FDCC87-7BD6-4C2A-AA34-BB9C12E741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B5F54E-EABA-4632-AB40-3DFD7E431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629658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3190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3568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4690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3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9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9178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8227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836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5074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24873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vert="horz"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657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8146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8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7538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32420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200" baseline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4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678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6682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66467"/>
          <a:stretch>
            <a:fillRect/>
          </a:stretch>
        </p:blipFill>
        <p:spPr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vert="horz"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2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212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002060"/>
            </a:gs>
            <a:gs pos="100000">
              <a:srgbClr val="00133A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0357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/>
          <a:stretch>
            <a:fillRect/>
          </a:stretch>
        </p:blipFill>
        <p:spPr>
          <a:xfrm>
            <a:off x="-1" y="0"/>
            <a:ext cx="12192001" cy="6858000"/>
          </a:xfrm>
          <a:custGeom>
            <a:avLst/>
            <a:gdLst>
              <a:gd name="connsiteX0" fmla="*/ 0 w 5316303"/>
              <a:gd name="connsiteY0" fmla="*/ 0 h 2990420"/>
              <a:gd name="connsiteX1" fmla="*/ 5316303 w 5316303"/>
              <a:gd name="connsiteY1" fmla="*/ 0 h 2990420"/>
              <a:gd name="connsiteX2" fmla="*/ 5316303 w 5316303"/>
              <a:gd name="connsiteY2" fmla="*/ 2990420 h 2990420"/>
              <a:gd name="connsiteX3" fmla="*/ 0 w 5316303"/>
              <a:gd name="connsiteY3" fmla="*/ 2990420 h 2990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16303" h="2990420">
                <a:moveTo>
                  <a:pt x="0" y="0"/>
                </a:moveTo>
                <a:lnTo>
                  <a:pt x="5316303" y="0"/>
                </a:lnTo>
                <a:lnTo>
                  <a:pt x="5316303" y="2990420"/>
                </a:lnTo>
                <a:lnTo>
                  <a:pt x="0" y="2990420"/>
                </a:lnTo>
                <a:close/>
              </a:path>
            </a:pathLst>
          </a:custGeom>
        </p:spPr>
      </p:pic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002060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FFFFFF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FFFFFF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7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54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113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CEBF889A-EF65-41C8-9552-3732E3637AF9}"/>
              </a:ext>
            </a:extLst>
          </p:cNvPr>
          <p:cNvPicPr>
            <a:picLocks/>
          </p:cNvPicPr>
          <p:nvPr userDrawn="1"/>
        </p:nvPicPr>
        <p:blipFill>
          <a:blip r:embed="rId6"/>
          <a:srcRect r="55488"/>
          <a:stretch>
            <a:fillRect/>
          </a:stretch>
        </p:blipFill>
        <p:spPr>
          <a:xfrm>
            <a:off x="1" y="0"/>
            <a:ext cx="5426920" cy="6858000"/>
          </a:xfrm>
          <a:custGeom>
            <a:avLst/>
            <a:gdLst>
              <a:gd name="connsiteX0" fmla="*/ 0 w 5426920"/>
              <a:gd name="connsiteY0" fmla="*/ 0 h 6858000"/>
              <a:gd name="connsiteX1" fmla="*/ 4724731 w 5426920"/>
              <a:gd name="connsiteY1" fmla="*/ 0 h 6858000"/>
              <a:gd name="connsiteX2" fmla="*/ 5426920 w 5426920"/>
              <a:gd name="connsiteY2" fmla="*/ 3429000 h 6858000"/>
              <a:gd name="connsiteX3" fmla="*/ 4724731 w 5426920"/>
              <a:gd name="connsiteY3" fmla="*/ 6858000 h 6858000"/>
              <a:gd name="connsiteX4" fmla="*/ 0 w 5426920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26920" h="6858000">
                <a:moveTo>
                  <a:pt x="0" y="0"/>
                </a:moveTo>
                <a:lnTo>
                  <a:pt x="4724731" y="0"/>
                </a:lnTo>
                <a:lnTo>
                  <a:pt x="5426920" y="3429000"/>
                </a:lnTo>
                <a:lnTo>
                  <a:pt x="4724731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  <p:pic>
        <p:nvPicPr>
          <p:cNvPr id="15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90743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26" Type="http://schemas.openxmlformats.org/officeDocument/2006/relationships/slideLayout" Target="../slideLayouts/slideLayout57.xml"/><Relationship Id="rId39" Type="http://schemas.openxmlformats.org/officeDocument/2006/relationships/tags" Target="../tags/tag15.xml"/><Relationship Id="rId21" Type="http://schemas.openxmlformats.org/officeDocument/2006/relationships/slideLayout" Target="../slideLayouts/slideLayout52.xml"/><Relationship Id="rId34" Type="http://schemas.openxmlformats.org/officeDocument/2006/relationships/tags" Target="../tags/tag10.xml"/><Relationship Id="rId42" Type="http://schemas.openxmlformats.org/officeDocument/2006/relationships/tags" Target="../tags/tag18.xml"/><Relationship Id="rId47" Type="http://schemas.openxmlformats.org/officeDocument/2006/relationships/tags" Target="../tags/tag23.xml"/><Relationship Id="rId50" Type="http://schemas.openxmlformats.org/officeDocument/2006/relationships/tags" Target="../tags/tag26.xml"/><Relationship Id="rId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9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32" Type="http://schemas.openxmlformats.org/officeDocument/2006/relationships/tags" Target="../tags/tag8.xml"/><Relationship Id="rId37" Type="http://schemas.openxmlformats.org/officeDocument/2006/relationships/tags" Target="../tags/tag13.xml"/><Relationship Id="rId40" Type="http://schemas.openxmlformats.org/officeDocument/2006/relationships/tags" Target="../tags/tag16.xml"/><Relationship Id="rId45" Type="http://schemas.openxmlformats.org/officeDocument/2006/relationships/tags" Target="../tags/tag21.xml"/><Relationship Id="rId53" Type="http://schemas.openxmlformats.org/officeDocument/2006/relationships/image" Target="../media/image5.emf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31" Type="http://schemas.openxmlformats.org/officeDocument/2006/relationships/theme" Target="../theme/theme2.xml"/><Relationship Id="rId44" Type="http://schemas.openxmlformats.org/officeDocument/2006/relationships/tags" Target="../tags/tag20.xml"/><Relationship Id="rId52" Type="http://schemas.openxmlformats.org/officeDocument/2006/relationships/oleObject" Target="../embeddings/oleObject2.bin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Relationship Id="rId27" Type="http://schemas.openxmlformats.org/officeDocument/2006/relationships/slideLayout" Target="../slideLayouts/slideLayout58.xml"/><Relationship Id="rId30" Type="http://schemas.openxmlformats.org/officeDocument/2006/relationships/slideLayout" Target="../slideLayouts/slideLayout61.xml"/><Relationship Id="rId35" Type="http://schemas.openxmlformats.org/officeDocument/2006/relationships/tags" Target="../tags/tag11.xml"/><Relationship Id="rId43" Type="http://schemas.openxmlformats.org/officeDocument/2006/relationships/tags" Target="../tags/tag19.xml"/><Relationship Id="rId48" Type="http://schemas.openxmlformats.org/officeDocument/2006/relationships/tags" Target="../tags/tag24.xml"/><Relationship Id="rId8" Type="http://schemas.openxmlformats.org/officeDocument/2006/relationships/slideLayout" Target="../slideLayouts/slideLayout39.xml"/><Relationship Id="rId51" Type="http://schemas.openxmlformats.org/officeDocument/2006/relationships/tags" Target="../tags/tag27.xml"/><Relationship Id="rId3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slideLayout" Target="../slideLayouts/slideLayout56.xml"/><Relationship Id="rId33" Type="http://schemas.openxmlformats.org/officeDocument/2006/relationships/tags" Target="../tags/tag9.xml"/><Relationship Id="rId38" Type="http://schemas.openxmlformats.org/officeDocument/2006/relationships/tags" Target="../tags/tag14.xml"/><Relationship Id="rId46" Type="http://schemas.openxmlformats.org/officeDocument/2006/relationships/tags" Target="../tags/tag22.xml"/><Relationship Id="rId20" Type="http://schemas.openxmlformats.org/officeDocument/2006/relationships/slideLayout" Target="../slideLayouts/slideLayout51.xml"/><Relationship Id="rId41" Type="http://schemas.openxmlformats.org/officeDocument/2006/relationships/tags" Target="../tags/tag17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28" Type="http://schemas.openxmlformats.org/officeDocument/2006/relationships/slideLayout" Target="../slideLayouts/slideLayout59.xml"/><Relationship Id="rId36" Type="http://schemas.openxmlformats.org/officeDocument/2006/relationships/tags" Target="../tags/tag12.xml"/><Relationship Id="rId49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78.xml"/><Relationship Id="rId21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103.xml"/><Relationship Id="rId63" Type="http://schemas.openxmlformats.org/officeDocument/2006/relationships/slideLayout" Target="../slideLayouts/slideLayout124.xml"/><Relationship Id="rId84" Type="http://schemas.openxmlformats.org/officeDocument/2006/relationships/slideLayout" Target="../slideLayouts/slideLayout145.xml"/><Relationship Id="rId138" Type="http://schemas.openxmlformats.org/officeDocument/2006/relationships/slideLayout" Target="../slideLayouts/slideLayout199.xml"/><Relationship Id="rId159" Type="http://schemas.openxmlformats.org/officeDocument/2006/relationships/image" Target="../media/image4.png"/><Relationship Id="rId107" Type="http://schemas.openxmlformats.org/officeDocument/2006/relationships/slideLayout" Target="../slideLayouts/slideLayout168.xml"/><Relationship Id="rId11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93.xml"/><Relationship Id="rId53" Type="http://schemas.openxmlformats.org/officeDocument/2006/relationships/slideLayout" Target="../slideLayouts/slideLayout114.xml"/><Relationship Id="rId74" Type="http://schemas.openxmlformats.org/officeDocument/2006/relationships/slideLayout" Target="../slideLayouts/slideLayout135.xml"/><Relationship Id="rId128" Type="http://schemas.openxmlformats.org/officeDocument/2006/relationships/slideLayout" Target="../slideLayouts/slideLayout189.xml"/><Relationship Id="rId149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66.xml"/><Relationship Id="rId95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104.xml"/><Relationship Id="rId64" Type="http://schemas.openxmlformats.org/officeDocument/2006/relationships/slideLayout" Target="../slideLayouts/slideLayout125.xml"/><Relationship Id="rId118" Type="http://schemas.openxmlformats.org/officeDocument/2006/relationships/slideLayout" Target="../slideLayouts/slideLayout179.xml"/><Relationship Id="rId139" Type="http://schemas.openxmlformats.org/officeDocument/2006/relationships/slideLayout" Target="../slideLayouts/slideLayout200.xml"/><Relationship Id="rId80" Type="http://schemas.openxmlformats.org/officeDocument/2006/relationships/slideLayout" Target="../slideLayouts/slideLayout141.xml"/><Relationship Id="rId85" Type="http://schemas.openxmlformats.org/officeDocument/2006/relationships/slideLayout" Target="../slideLayouts/slideLayout146.xml"/><Relationship Id="rId150" Type="http://schemas.openxmlformats.org/officeDocument/2006/relationships/slideLayout" Target="../slideLayouts/slideLayout211.xml"/><Relationship Id="rId155" Type="http://schemas.openxmlformats.org/officeDocument/2006/relationships/tags" Target="../tags/tag125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59" Type="http://schemas.openxmlformats.org/officeDocument/2006/relationships/slideLayout" Target="../slideLayouts/slideLayout120.xml"/><Relationship Id="rId103" Type="http://schemas.openxmlformats.org/officeDocument/2006/relationships/slideLayout" Target="../slideLayouts/slideLayout164.xml"/><Relationship Id="rId108" Type="http://schemas.openxmlformats.org/officeDocument/2006/relationships/slideLayout" Target="../slideLayouts/slideLayout169.xml"/><Relationship Id="rId124" Type="http://schemas.openxmlformats.org/officeDocument/2006/relationships/slideLayout" Target="../slideLayouts/slideLayout185.xml"/><Relationship Id="rId129" Type="http://schemas.openxmlformats.org/officeDocument/2006/relationships/slideLayout" Target="../slideLayouts/slideLayout190.xml"/><Relationship Id="rId54" Type="http://schemas.openxmlformats.org/officeDocument/2006/relationships/slideLayout" Target="../slideLayouts/slideLayout115.xml"/><Relationship Id="rId70" Type="http://schemas.openxmlformats.org/officeDocument/2006/relationships/slideLayout" Target="../slideLayouts/slideLayout131.xml"/><Relationship Id="rId75" Type="http://schemas.openxmlformats.org/officeDocument/2006/relationships/slideLayout" Target="../slideLayouts/slideLayout136.xml"/><Relationship Id="rId91" Type="http://schemas.openxmlformats.org/officeDocument/2006/relationships/slideLayout" Target="../slideLayouts/slideLayout152.xml"/><Relationship Id="rId96" Type="http://schemas.openxmlformats.org/officeDocument/2006/relationships/slideLayout" Target="../slideLayouts/slideLayout157.xml"/><Relationship Id="rId140" Type="http://schemas.openxmlformats.org/officeDocument/2006/relationships/slideLayout" Target="../slideLayouts/slideLayout201.xml"/><Relationship Id="rId145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49" Type="http://schemas.openxmlformats.org/officeDocument/2006/relationships/slideLayout" Target="../slideLayouts/slideLayout110.xml"/><Relationship Id="rId114" Type="http://schemas.openxmlformats.org/officeDocument/2006/relationships/slideLayout" Target="../slideLayouts/slideLayout175.xml"/><Relationship Id="rId119" Type="http://schemas.openxmlformats.org/officeDocument/2006/relationships/slideLayout" Target="../slideLayouts/slideLayout180.xml"/><Relationship Id="rId44" Type="http://schemas.openxmlformats.org/officeDocument/2006/relationships/slideLayout" Target="../slideLayouts/slideLayout105.xml"/><Relationship Id="rId60" Type="http://schemas.openxmlformats.org/officeDocument/2006/relationships/slideLayout" Target="../slideLayouts/slideLayout121.xml"/><Relationship Id="rId65" Type="http://schemas.openxmlformats.org/officeDocument/2006/relationships/slideLayout" Target="../slideLayouts/slideLayout126.xml"/><Relationship Id="rId81" Type="http://schemas.openxmlformats.org/officeDocument/2006/relationships/slideLayout" Target="../slideLayouts/slideLayout142.xml"/><Relationship Id="rId86" Type="http://schemas.openxmlformats.org/officeDocument/2006/relationships/slideLayout" Target="../slideLayouts/slideLayout147.xml"/><Relationship Id="rId130" Type="http://schemas.openxmlformats.org/officeDocument/2006/relationships/slideLayout" Target="../slideLayouts/slideLayout191.xml"/><Relationship Id="rId135" Type="http://schemas.openxmlformats.org/officeDocument/2006/relationships/slideLayout" Target="../slideLayouts/slideLayout196.xml"/><Relationship Id="rId151" Type="http://schemas.openxmlformats.org/officeDocument/2006/relationships/slideLayout" Target="../slideLayouts/slideLayout212.xml"/><Relationship Id="rId156" Type="http://schemas.openxmlformats.org/officeDocument/2006/relationships/tags" Target="../tags/tag126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100.xml"/><Relationship Id="rId109" Type="http://schemas.openxmlformats.org/officeDocument/2006/relationships/slideLayout" Target="../slideLayouts/slideLayout170.xml"/><Relationship Id="rId34" Type="http://schemas.openxmlformats.org/officeDocument/2006/relationships/slideLayout" Target="../slideLayouts/slideLayout95.xml"/><Relationship Id="rId50" Type="http://schemas.openxmlformats.org/officeDocument/2006/relationships/slideLayout" Target="../slideLayouts/slideLayout111.xml"/><Relationship Id="rId55" Type="http://schemas.openxmlformats.org/officeDocument/2006/relationships/slideLayout" Target="../slideLayouts/slideLayout116.xml"/><Relationship Id="rId76" Type="http://schemas.openxmlformats.org/officeDocument/2006/relationships/slideLayout" Target="../slideLayouts/slideLayout137.xml"/><Relationship Id="rId97" Type="http://schemas.openxmlformats.org/officeDocument/2006/relationships/slideLayout" Target="../slideLayouts/slideLayout158.xml"/><Relationship Id="rId104" Type="http://schemas.openxmlformats.org/officeDocument/2006/relationships/slideLayout" Target="../slideLayouts/slideLayout165.xml"/><Relationship Id="rId120" Type="http://schemas.openxmlformats.org/officeDocument/2006/relationships/slideLayout" Target="../slideLayouts/slideLayout181.xml"/><Relationship Id="rId125" Type="http://schemas.openxmlformats.org/officeDocument/2006/relationships/slideLayout" Target="../slideLayouts/slideLayout186.xml"/><Relationship Id="rId141" Type="http://schemas.openxmlformats.org/officeDocument/2006/relationships/slideLayout" Target="../slideLayouts/slideLayout202.xml"/><Relationship Id="rId146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68.xml"/><Relationship Id="rId71" Type="http://schemas.openxmlformats.org/officeDocument/2006/relationships/slideLayout" Target="../slideLayouts/slideLayout132.xml"/><Relationship Id="rId92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90.xml"/><Relationship Id="rId24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66" Type="http://schemas.openxmlformats.org/officeDocument/2006/relationships/slideLayout" Target="../slideLayouts/slideLayout127.xml"/><Relationship Id="rId87" Type="http://schemas.openxmlformats.org/officeDocument/2006/relationships/slideLayout" Target="../slideLayouts/slideLayout148.xml"/><Relationship Id="rId110" Type="http://schemas.openxmlformats.org/officeDocument/2006/relationships/slideLayout" Target="../slideLayouts/slideLayout171.xml"/><Relationship Id="rId115" Type="http://schemas.openxmlformats.org/officeDocument/2006/relationships/slideLayout" Target="../slideLayouts/slideLayout176.xml"/><Relationship Id="rId131" Type="http://schemas.openxmlformats.org/officeDocument/2006/relationships/slideLayout" Target="../slideLayouts/slideLayout192.xml"/><Relationship Id="rId136" Type="http://schemas.openxmlformats.org/officeDocument/2006/relationships/slideLayout" Target="../slideLayouts/slideLayout197.xml"/><Relationship Id="rId157" Type="http://schemas.openxmlformats.org/officeDocument/2006/relationships/oleObject" Target="../embeddings/oleObject24.bin"/><Relationship Id="rId61" Type="http://schemas.openxmlformats.org/officeDocument/2006/relationships/slideLayout" Target="../slideLayouts/slideLayout122.xml"/><Relationship Id="rId82" Type="http://schemas.openxmlformats.org/officeDocument/2006/relationships/slideLayout" Target="../slideLayouts/slideLayout143.xml"/><Relationship Id="rId152" Type="http://schemas.openxmlformats.org/officeDocument/2006/relationships/slideLayout" Target="../slideLayouts/slideLayout213.xml"/><Relationship Id="rId1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56" Type="http://schemas.openxmlformats.org/officeDocument/2006/relationships/slideLayout" Target="../slideLayouts/slideLayout117.xml"/><Relationship Id="rId77" Type="http://schemas.openxmlformats.org/officeDocument/2006/relationships/slideLayout" Target="../slideLayouts/slideLayout138.xml"/><Relationship Id="rId100" Type="http://schemas.openxmlformats.org/officeDocument/2006/relationships/slideLayout" Target="../slideLayouts/slideLayout161.xml"/><Relationship Id="rId105" Type="http://schemas.openxmlformats.org/officeDocument/2006/relationships/slideLayout" Target="../slideLayouts/slideLayout166.xml"/><Relationship Id="rId126" Type="http://schemas.openxmlformats.org/officeDocument/2006/relationships/slideLayout" Target="../slideLayouts/slideLayout187.xml"/><Relationship Id="rId147" Type="http://schemas.openxmlformats.org/officeDocument/2006/relationships/slideLayout" Target="../slideLayouts/slideLayout208.xml"/><Relationship Id="rId8" Type="http://schemas.openxmlformats.org/officeDocument/2006/relationships/slideLayout" Target="../slideLayouts/slideLayout69.xml"/><Relationship Id="rId51" Type="http://schemas.openxmlformats.org/officeDocument/2006/relationships/slideLayout" Target="../slideLayouts/slideLayout112.xml"/><Relationship Id="rId72" Type="http://schemas.openxmlformats.org/officeDocument/2006/relationships/slideLayout" Target="../slideLayouts/slideLayout133.xml"/><Relationship Id="rId93" Type="http://schemas.openxmlformats.org/officeDocument/2006/relationships/slideLayout" Target="../slideLayouts/slideLayout154.xml"/><Relationship Id="rId98" Type="http://schemas.openxmlformats.org/officeDocument/2006/relationships/slideLayout" Target="../slideLayouts/slideLayout159.xml"/><Relationship Id="rId121" Type="http://schemas.openxmlformats.org/officeDocument/2006/relationships/slideLayout" Target="../slideLayouts/slideLayout182.xml"/><Relationship Id="rId142" Type="http://schemas.openxmlformats.org/officeDocument/2006/relationships/slideLayout" Target="../slideLayouts/slideLayout203.xml"/><Relationship Id="rId3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107.xml"/><Relationship Id="rId67" Type="http://schemas.openxmlformats.org/officeDocument/2006/relationships/slideLayout" Target="../slideLayouts/slideLayout128.xml"/><Relationship Id="rId116" Type="http://schemas.openxmlformats.org/officeDocument/2006/relationships/slideLayout" Target="../slideLayouts/slideLayout177.xml"/><Relationship Id="rId137" Type="http://schemas.openxmlformats.org/officeDocument/2006/relationships/slideLayout" Target="../slideLayouts/slideLayout198.xml"/><Relationship Id="rId158" Type="http://schemas.openxmlformats.org/officeDocument/2006/relationships/image" Target="../media/image18.emf"/><Relationship Id="rId20" Type="http://schemas.openxmlformats.org/officeDocument/2006/relationships/slideLayout" Target="../slideLayouts/slideLayout81.xml"/><Relationship Id="rId41" Type="http://schemas.openxmlformats.org/officeDocument/2006/relationships/slideLayout" Target="../slideLayouts/slideLayout102.xml"/><Relationship Id="rId62" Type="http://schemas.openxmlformats.org/officeDocument/2006/relationships/slideLayout" Target="../slideLayouts/slideLayout123.xml"/><Relationship Id="rId83" Type="http://schemas.openxmlformats.org/officeDocument/2006/relationships/slideLayout" Target="../slideLayouts/slideLayout144.xml"/><Relationship Id="rId88" Type="http://schemas.openxmlformats.org/officeDocument/2006/relationships/slideLayout" Target="../slideLayouts/slideLayout149.xml"/><Relationship Id="rId111" Type="http://schemas.openxmlformats.org/officeDocument/2006/relationships/slideLayout" Target="../slideLayouts/slideLayout172.xml"/><Relationship Id="rId132" Type="http://schemas.openxmlformats.org/officeDocument/2006/relationships/slideLayout" Target="../slideLayouts/slideLayout193.xml"/><Relationship Id="rId153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97.xml"/><Relationship Id="rId57" Type="http://schemas.openxmlformats.org/officeDocument/2006/relationships/slideLayout" Target="../slideLayouts/slideLayout118.xml"/><Relationship Id="rId106" Type="http://schemas.openxmlformats.org/officeDocument/2006/relationships/slideLayout" Target="../slideLayouts/slideLayout167.xml"/><Relationship Id="rId127" Type="http://schemas.openxmlformats.org/officeDocument/2006/relationships/slideLayout" Target="../slideLayouts/slideLayout188.xml"/><Relationship Id="rId10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92.xml"/><Relationship Id="rId52" Type="http://schemas.openxmlformats.org/officeDocument/2006/relationships/slideLayout" Target="../slideLayouts/slideLayout113.xml"/><Relationship Id="rId73" Type="http://schemas.openxmlformats.org/officeDocument/2006/relationships/slideLayout" Target="../slideLayouts/slideLayout134.xml"/><Relationship Id="rId78" Type="http://schemas.openxmlformats.org/officeDocument/2006/relationships/slideLayout" Target="../slideLayouts/slideLayout139.xml"/><Relationship Id="rId94" Type="http://schemas.openxmlformats.org/officeDocument/2006/relationships/slideLayout" Target="../slideLayouts/slideLayout155.xml"/><Relationship Id="rId99" Type="http://schemas.openxmlformats.org/officeDocument/2006/relationships/slideLayout" Target="../slideLayouts/slideLayout160.xml"/><Relationship Id="rId101" Type="http://schemas.openxmlformats.org/officeDocument/2006/relationships/slideLayout" Target="../slideLayouts/slideLayout162.xml"/><Relationship Id="rId122" Type="http://schemas.openxmlformats.org/officeDocument/2006/relationships/slideLayout" Target="../slideLayouts/slideLayout183.xml"/><Relationship Id="rId143" Type="http://schemas.openxmlformats.org/officeDocument/2006/relationships/slideLayout" Target="../slideLayouts/slideLayout204.xml"/><Relationship Id="rId148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87.xml"/><Relationship Id="rId47" Type="http://schemas.openxmlformats.org/officeDocument/2006/relationships/slideLayout" Target="../slideLayouts/slideLayout108.xml"/><Relationship Id="rId68" Type="http://schemas.openxmlformats.org/officeDocument/2006/relationships/slideLayout" Target="../slideLayouts/slideLayout129.xml"/><Relationship Id="rId89" Type="http://schemas.openxmlformats.org/officeDocument/2006/relationships/slideLayout" Target="../slideLayouts/slideLayout150.xml"/><Relationship Id="rId112" Type="http://schemas.openxmlformats.org/officeDocument/2006/relationships/slideLayout" Target="../slideLayouts/slideLayout173.xml"/><Relationship Id="rId133" Type="http://schemas.openxmlformats.org/officeDocument/2006/relationships/slideLayout" Target="../slideLayouts/slideLayout194.xml"/><Relationship Id="rId154" Type="http://schemas.openxmlformats.org/officeDocument/2006/relationships/theme" Target="../theme/theme3.xml"/><Relationship Id="rId16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98.xml"/><Relationship Id="rId58" Type="http://schemas.openxmlformats.org/officeDocument/2006/relationships/slideLayout" Target="../slideLayouts/slideLayout119.xml"/><Relationship Id="rId79" Type="http://schemas.openxmlformats.org/officeDocument/2006/relationships/slideLayout" Target="../slideLayouts/slideLayout140.xml"/><Relationship Id="rId102" Type="http://schemas.openxmlformats.org/officeDocument/2006/relationships/slideLayout" Target="../slideLayouts/slideLayout163.xml"/><Relationship Id="rId123" Type="http://schemas.openxmlformats.org/officeDocument/2006/relationships/slideLayout" Target="../slideLayouts/slideLayout184.xml"/><Relationship Id="rId144" Type="http://schemas.openxmlformats.org/officeDocument/2006/relationships/slideLayout" Target="../slideLayouts/slideLayout205.xml"/><Relationship Id="rId90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88.xml"/><Relationship Id="rId48" Type="http://schemas.openxmlformats.org/officeDocument/2006/relationships/slideLayout" Target="../slideLayouts/slideLayout109.xml"/><Relationship Id="rId69" Type="http://schemas.openxmlformats.org/officeDocument/2006/relationships/slideLayout" Target="../slideLayouts/slideLayout130.xml"/><Relationship Id="rId113" Type="http://schemas.openxmlformats.org/officeDocument/2006/relationships/slideLayout" Target="../slideLayouts/slideLayout174.xml"/><Relationship Id="rId134" Type="http://schemas.openxmlformats.org/officeDocument/2006/relationships/slideLayout" Target="../slideLayouts/slideLayout19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AD58701-0A8B-471B-8B13-DA9D1A767A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2E1933-D48D-4C75-90DB-09944FC25E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9D35B6-FF74-4305-B874-1250433D266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DBF21-D3ED-462D-9E01-FCD0E4D6C617}" type="datetimeFigureOut">
              <a:rPr lang="en-GB" smtClean="0"/>
              <a:t>07/09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07B07A-B403-491E-AE99-9B5E74BDA5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F6A1C8-7318-420B-A6A9-0D942D417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FC90-1B5D-4CDD-A200-3E8A334E476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0840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662" r:id="rId12"/>
    <p:sldLayoutId id="2147483673" r:id="rId13"/>
    <p:sldLayoutId id="2147483676" r:id="rId14"/>
    <p:sldLayoutId id="2147483675" r:id="rId15"/>
    <p:sldLayoutId id="2147483664" r:id="rId16"/>
    <p:sldLayoutId id="2147483674" r:id="rId17"/>
    <p:sldLayoutId id="2147483677" r:id="rId18"/>
    <p:sldLayoutId id="2147483665" r:id="rId19"/>
    <p:sldLayoutId id="2147483666" r:id="rId20"/>
    <p:sldLayoutId id="2147483668" r:id="rId21"/>
    <p:sldLayoutId id="2147483670" r:id="rId22"/>
    <p:sldLayoutId id="2147483671" r:id="rId23"/>
    <p:sldLayoutId id="2147483678" r:id="rId24"/>
    <p:sldLayoutId id="2147483679" r:id="rId25"/>
    <p:sldLayoutId id="2147483684" r:id="rId26"/>
    <p:sldLayoutId id="2147483680" r:id="rId27"/>
    <p:sldLayoutId id="2147483681" r:id="rId28"/>
    <p:sldLayoutId id="2147483682" r:id="rId29"/>
    <p:sldLayoutId id="2147483725" r:id="rId30"/>
    <p:sldLayoutId id="2147483789" r:id="rId3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3061192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3" imgH="416" progId="TCLayout.ActiveDocument.1">
                  <p:embed/>
                </p:oleObj>
              </mc:Choice>
              <mc:Fallback>
                <p:oleObj name="think-cell Slide" r:id="rId5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5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3"/>
            <a:ext cx="344646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6"/>
            </p:custDataLst>
          </p:nvPr>
        </p:nvSpPr>
        <p:spPr>
          <a:xfrm>
            <a:off x="5987738" y="2170800"/>
            <a:ext cx="3049253" cy="56938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5464106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7484962-6460-42A0-8B2D-2A5BE461319A}"/>
              </a:ext>
            </a:extLst>
          </p:cNvPr>
          <p:cNvGrpSpPr/>
          <p:nvPr userDrawn="1"/>
        </p:nvGrpSpPr>
        <p:grpSpPr>
          <a:xfrm>
            <a:off x="10317304" y="3150223"/>
            <a:ext cx="1251160" cy="958286"/>
            <a:chOff x="10162879" y="3243772"/>
            <a:chExt cx="1251160" cy="958286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C16504EA-F1ED-4BBF-A9C6-57595953B07E}"/>
                </a:ext>
              </a:extLst>
            </p:cNvPr>
            <p:cNvSpPr txBox="1"/>
            <p:nvPr/>
          </p:nvSpPr>
          <p:spPr>
            <a:xfrm>
              <a:off x="10886522" y="324377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CEE8BAE4-030E-41D8-B1F8-123EB4760FFC}"/>
                </a:ext>
              </a:extLst>
            </p:cNvPr>
            <p:cNvSpPr txBox="1"/>
            <p:nvPr/>
          </p:nvSpPr>
          <p:spPr>
            <a:xfrm>
              <a:off x="10886522" y="3615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CDA2698C-35AE-4C86-8ABA-43E5A0C57004}"/>
                </a:ext>
              </a:extLst>
            </p:cNvPr>
            <p:cNvSpPr txBox="1"/>
            <p:nvPr/>
          </p:nvSpPr>
          <p:spPr>
            <a:xfrm>
              <a:off x="10886522" y="398661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CF422A87-9A2F-43F8-B7A7-853F1005F0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CE7761F-2C48-46A5-ADBB-0B002FEDDC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1C54369B-0E9B-4EFC-87B8-71FA83D08A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70FFA10-05F3-4B51-805F-2AE358C66D44}"/>
              </a:ext>
            </a:extLst>
          </p:cNvPr>
          <p:cNvGrpSpPr/>
          <p:nvPr userDrawn="1"/>
        </p:nvGrpSpPr>
        <p:grpSpPr>
          <a:xfrm>
            <a:off x="10688315" y="1145373"/>
            <a:ext cx="880149" cy="1731859"/>
            <a:chOff x="7723680" y="1702457"/>
            <a:chExt cx="880149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057805C-3CF8-4111-91AE-B02C6CDD36C0}"/>
                </a:ext>
              </a:extLst>
            </p:cNvPr>
            <p:cNvSpPr txBox="1"/>
            <p:nvPr/>
          </p:nvSpPr>
          <p:spPr>
            <a:xfrm>
              <a:off x="8076312" y="1709816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B7307D48-108C-4F9A-8561-9ED07A266D1A}"/>
                </a:ext>
              </a:extLst>
            </p:cNvPr>
            <p:cNvSpPr txBox="1"/>
            <p:nvPr/>
          </p:nvSpPr>
          <p:spPr>
            <a:xfrm>
              <a:off x="8076312" y="2085275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FA11ADE1-F1EB-4591-98AB-1F132CFBD8A0}"/>
                </a:ext>
              </a:extLst>
            </p:cNvPr>
            <p:cNvSpPr txBox="1"/>
            <p:nvPr/>
          </p:nvSpPr>
          <p:spPr>
            <a:xfrm>
              <a:off x="8076312" y="246073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A746054F-3404-4890-B798-A06501840955}"/>
                </a:ext>
              </a:extLst>
            </p:cNvPr>
            <p:cNvSpPr txBox="1"/>
            <p:nvPr/>
          </p:nvSpPr>
          <p:spPr>
            <a:xfrm>
              <a:off x="8076312" y="2836193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9C704ED-DCD5-42FC-A095-6384D6E55EB5}"/>
                </a:ext>
              </a:extLst>
            </p:cNvPr>
            <p:cNvSpPr txBox="1"/>
            <p:nvPr/>
          </p:nvSpPr>
          <p:spPr>
            <a:xfrm>
              <a:off x="8076312" y="321165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0C1E337-3A69-499B-B0F4-6D7DFB7F9C05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7932E79D-7066-4AD6-B60E-E2BC52B62982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9B86C35-906B-4FF0-8425-6754D57EBF43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AF7A16A7-8B19-4E0D-B905-1F5D95015DA4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4012041B-E0AF-4EC1-AB55-56A72D022435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6F696344-D806-4C58-B1D8-974922BB1E24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ADDD570-77B0-4129-810C-7A3C34A17A18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B117C66-7D01-438D-8563-7CD87838C9A4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108ECDC-40F6-4807-877A-BABFEB4AFBE9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FC1B3E38-7444-4488-8167-7F325BC02FA2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D605A67-F9E1-42A3-886B-B0852A731664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AFCDF11F-A29B-4306-B44B-8D2BE1C1592C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301568-EF1B-4D1D-ADC3-1844901AA4CD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BE89DB-ED35-460C-BDF1-93CE0F93D1F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58C73CD-ED13-4D23-99C0-F45D5C7E04BC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19D3746-361F-4AA4-A38D-F93C6AF9D087}"/>
              </a:ext>
            </a:extLst>
          </p:cNvPr>
          <p:cNvGrpSpPr/>
          <p:nvPr userDrawn="1"/>
        </p:nvGrpSpPr>
        <p:grpSpPr>
          <a:xfrm>
            <a:off x="10714801" y="4381500"/>
            <a:ext cx="853663" cy="1717282"/>
            <a:chOff x="10652400" y="4322824"/>
            <a:chExt cx="853663" cy="1717282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281911C-9646-4033-85CC-351D081CA78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50D3A4AD-6F53-43DC-9E40-CF531DBA3B8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0D8333FC-8074-42CE-BEA3-401BEE8419C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99E4610-E857-4675-80C1-4D7CF813BA6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6A22290-64F1-4F76-8FB6-E44FDC6B66E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DC4A031E-D1AB-407D-994F-108D96446906}"/>
                </a:ext>
              </a:extLst>
            </p:cNvPr>
            <p:cNvSpPr txBox="1"/>
            <p:nvPr/>
          </p:nvSpPr>
          <p:spPr>
            <a:xfrm>
              <a:off x="10978546" y="4322824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E8E8977-7A15-4678-8566-E98F248C9421}"/>
                </a:ext>
              </a:extLst>
            </p:cNvPr>
            <p:cNvSpPr txBox="1"/>
            <p:nvPr/>
          </p:nvSpPr>
          <p:spPr>
            <a:xfrm>
              <a:off x="10978546" y="470232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3FBE75A-5EFA-4E1B-9B32-294CDC95475C}"/>
                </a:ext>
              </a:extLst>
            </p:cNvPr>
            <p:cNvSpPr txBox="1"/>
            <p:nvPr/>
          </p:nvSpPr>
          <p:spPr>
            <a:xfrm>
              <a:off x="10978546" y="5081820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EB082C1-6EFE-41C3-9966-92C31157F35B}"/>
                </a:ext>
              </a:extLst>
            </p:cNvPr>
            <p:cNvSpPr txBox="1"/>
            <p:nvPr/>
          </p:nvSpPr>
          <p:spPr>
            <a:xfrm>
              <a:off x="10978546" y="5453241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66C6196-FD22-49A0-9E02-278834EB83B2}"/>
                </a:ext>
              </a:extLst>
            </p:cNvPr>
            <p:cNvSpPr txBox="1"/>
            <p:nvPr/>
          </p:nvSpPr>
          <p:spPr>
            <a:xfrm>
              <a:off x="10978545" y="5824662"/>
              <a:ext cx="5275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pic>
        <p:nvPicPr>
          <p:cNvPr id="14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E9A5C9CD-4653-430D-97B6-9729F65A5C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2104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  <p:sldLayoutId id="2147483746" r:id="rId19"/>
    <p:sldLayoutId id="2147483747" r:id="rId20"/>
    <p:sldLayoutId id="2147483748" r:id="rId21"/>
    <p:sldLayoutId id="2147483749" r:id="rId22"/>
    <p:sldLayoutId id="2147483750" r:id="rId23"/>
    <p:sldLayoutId id="2147483751" r:id="rId24"/>
    <p:sldLayoutId id="2147483752" r:id="rId25"/>
    <p:sldLayoutId id="2147483753" r:id="rId26"/>
    <p:sldLayoutId id="2147483754" r:id="rId27"/>
    <p:sldLayoutId id="2147483755" r:id="rId28"/>
    <p:sldLayoutId id="2147483756" r:id="rId29"/>
    <p:sldLayoutId id="2147483757" r:id="rId3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55"/>
            </p:custDataLst>
            <p:extLst>
              <p:ext uri="{D42A27DB-BD31-4B8C-83A1-F6EECF244321}">
                <p14:modId xmlns:p14="http://schemas.microsoft.com/office/powerpoint/2010/main" val="65178045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7" imgW="270" imgH="270" progId="TCLayout.ActiveDocument.1">
                  <p:embed/>
                </p:oleObj>
              </mc:Choice>
              <mc:Fallback>
                <p:oleObj name="think-cell Slide" r:id="rId157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57079" y="421353"/>
            <a:ext cx="11082528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57079" y="1825625"/>
            <a:ext cx="11082528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pic>
        <p:nvPicPr>
          <p:cNvPr id="1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18D6E33A-A789-492B-A65A-52B415643A26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309" b="19199"/>
          <a:stretch/>
        </p:blipFill>
        <p:spPr bwMode="auto">
          <a:xfrm>
            <a:off x="10366121" y="6337913"/>
            <a:ext cx="942594" cy="336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Slide Number">
            <a:extLst>
              <a:ext uri="{FF2B5EF4-FFF2-40B4-BE49-F238E27FC236}">
                <a16:creationId xmlns:a16="http://schemas.microsoft.com/office/drawing/2014/main" id="{E4B01BD1-92F8-400D-A988-F44362EEA191}"/>
              </a:ext>
            </a:extLst>
          </p:cNvPr>
          <p:cNvSpPr>
            <a:spLocks noChangeArrowheads="1"/>
          </p:cNvSpPr>
          <p:nvPr userDrawn="1">
            <p:custDataLst>
              <p:tags r:id="rId15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>
              <a:defRPr/>
            </a:pPr>
            <a:fld id="{4ABDCABE-3F10-B64C-92F1-862014417034}" type="slidenum">
              <a:rPr lang="en-US" sz="900" smtClean="0">
                <a:solidFill>
                  <a:srgbClr val="262626"/>
                </a:solidFill>
                <a:latin typeface="Trebuchet MS"/>
                <a:cs typeface="Arial" panose="020B0604020202020204" pitchFamily="34" charset="0"/>
              </a:rPr>
              <a:pPr algn="r" defTabSz="610744">
                <a:defRPr/>
              </a:pPr>
              <a:t>‹#›</a:t>
            </a:fld>
            <a:endParaRPr lang="en-US" sz="900">
              <a:solidFill>
                <a:srgbClr val="262626"/>
              </a:solidFill>
              <a:latin typeface="Trebuchet MS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9582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  <p:sldLayoutId id="2147483806" r:id="rId15"/>
    <p:sldLayoutId id="2147483807" r:id="rId16"/>
    <p:sldLayoutId id="2147483808" r:id="rId17"/>
    <p:sldLayoutId id="2147483809" r:id="rId18"/>
    <p:sldLayoutId id="2147483810" r:id="rId19"/>
    <p:sldLayoutId id="2147483811" r:id="rId20"/>
    <p:sldLayoutId id="2147483812" r:id="rId21"/>
    <p:sldLayoutId id="2147483813" r:id="rId22"/>
    <p:sldLayoutId id="2147483814" r:id="rId23"/>
    <p:sldLayoutId id="2147483815" r:id="rId24"/>
    <p:sldLayoutId id="2147483816" r:id="rId25"/>
    <p:sldLayoutId id="2147483817" r:id="rId26"/>
    <p:sldLayoutId id="2147483818" r:id="rId27"/>
    <p:sldLayoutId id="2147483819" r:id="rId28"/>
    <p:sldLayoutId id="2147483820" r:id="rId29"/>
    <p:sldLayoutId id="2147483821" r:id="rId30"/>
    <p:sldLayoutId id="2147483822" r:id="rId31"/>
    <p:sldLayoutId id="2147483823" r:id="rId32"/>
    <p:sldLayoutId id="2147483824" r:id="rId33"/>
    <p:sldLayoutId id="2147483825" r:id="rId34"/>
    <p:sldLayoutId id="2147483826" r:id="rId35"/>
    <p:sldLayoutId id="2147483827" r:id="rId36"/>
    <p:sldLayoutId id="2147483828" r:id="rId37"/>
    <p:sldLayoutId id="2147483829" r:id="rId38"/>
    <p:sldLayoutId id="2147483830" r:id="rId39"/>
    <p:sldLayoutId id="2147483831" r:id="rId40"/>
    <p:sldLayoutId id="2147483832" r:id="rId41"/>
    <p:sldLayoutId id="2147483833" r:id="rId42"/>
    <p:sldLayoutId id="2147483834" r:id="rId43"/>
    <p:sldLayoutId id="2147483835" r:id="rId44"/>
    <p:sldLayoutId id="2147483836" r:id="rId45"/>
    <p:sldLayoutId id="2147483837" r:id="rId46"/>
    <p:sldLayoutId id="2147483838" r:id="rId47"/>
    <p:sldLayoutId id="2147483839" r:id="rId48"/>
    <p:sldLayoutId id="2147483840" r:id="rId49"/>
    <p:sldLayoutId id="2147483841" r:id="rId50"/>
    <p:sldLayoutId id="2147483842" r:id="rId51"/>
    <p:sldLayoutId id="2147483843" r:id="rId52"/>
    <p:sldLayoutId id="2147483844" r:id="rId53"/>
    <p:sldLayoutId id="2147483845" r:id="rId54"/>
    <p:sldLayoutId id="2147483846" r:id="rId55"/>
    <p:sldLayoutId id="2147483847" r:id="rId56"/>
    <p:sldLayoutId id="2147483848" r:id="rId57"/>
    <p:sldLayoutId id="2147483849" r:id="rId58"/>
    <p:sldLayoutId id="2147483850" r:id="rId59"/>
    <p:sldLayoutId id="2147483851" r:id="rId60"/>
    <p:sldLayoutId id="2147483852" r:id="rId61"/>
    <p:sldLayoutId id="2147483853" r:id="rId62"/>
    <p:sldLayoutId id="2147483854" r:id="rId63"/>
    <p:sldLayoutId id="2147483855" r:id="rId64"/>
    <p:sldLayoutId id="2147483856" r:id="rId65"/>
    <p:sldLayoutId id="2147483857" r:id="rId66"/>
    <p:sldLayoutId id="2147483858" r:id="rId67"/>
    <p:sldLayoutId id="2147483859" r:id="rId68"/>
    <p:sldLayoutId id="2147483860" r:id="rId69"/>
    <p:sldLayoutId id="2147483861" r:id="rId70"/>
    <p:sldLayoutId id="2147483862" r:id="rId71"/>
    <p:sldLayoutId id="2147483863" r:id="rId72"/>
    <p:sldLayoutId id="2147483864" r:id="rId73"/>
    <p:sldLayoutId id="2147483865" r:id="rId74"/>
    <p:sldLayoutId id="2147483866" r:id="rId75"/>
    <p:sldLayoutId id="2147483867" r:id="rId76"/>
    <p:sldLayoutId id="2147483868" r:id="rId77"/>
    <p:sldLayoutId id="2147483869" r:id="rId78"/>
    <p:sldLayoutId id="2147483870" r:id="rId79"/>
    <p:sldLayoutId id="2147483871" r:id="rId80"/>
    <p:sldLayoutId id="2147483872" r:id="rId81"/>
    <p:sldLayoutId id="2147483873" r:id="rId82"/>
    <p:sldLayoutId id="2147483874" r:id="rId83"/>
    <p:sldLayoutId id="2147483875" r:id="rId84"/>
    <p:sldLayoutId id="2147483876" r:id="rId85"/>
    <p:sldLayoutId id="2147483877" r:id="rId86"/>
    <p:sldLayoutId id="2147483878" r:id="rId87"/>
    <p:sldLayoutId id="2147483879" r:id="rId88"/>
    <p:sldLayoutId id="2147483880" r:id="rId89"/>
    <p:sldLayoutId id="2147483881" r:id="rId90"/>
    <p:sldLayoutId id="2147483882" r:id="rId91"/>
    <p:sldLayoutId id="2147483883" r:id="rId92"/>
    <p:sldLayoutId id="2147483884" r:id="rId93"/>
    <p:sldLayoutId id="2147483885" r:id="rId94"/>
    <p:sldLayoutId id="2147483886" r:id="rId95"/>
    <p:sldLayoutId id="2147483887" r:id="rId96"/>
    <p:sldLayoutId id="2147483888" r:id="rId97"/>
    <p:sldLayoutId id="2147483889" r:id="rId98"/>
    <p:sldLayoutId id="2147483890" r:id="rId99"/>
    <p:sldLayoutId id="2147483891" r:id="rId100"/>
    <p:sldLayoutId id="2147483892" r:id="rId101"/>
    <p:sldLayoutId id="2147483893" r:id="rId102"/>
    <p:sldLayoutId id="2147483894" r:id="rId103"/>
    <p:sldLayoutId id="2147483895" r:id="rId104"/>
    <p:sldLayoutId id="2147483896" r:id="rId105"/>
    <p:sldLayoutId id="2147483897" r:id="rId106"/>
    <p:sldLayoutId id="2147483898" r:id="rId107"/>
    <p:sldLayoutId id="2147483899" r:id="rId108"/>
    <p:sldLayoutId id="2147483900" r:id="rId109"/>
    <p:sldLayoutId id="2147483901" r:id="rId110"/>
    <p:sldLayoutId id="2147483902" r:id="rId111"/>
    <p:sldLayoutId id="2147483903" r:id="rId112"/>
    <p:sldLayoutId id="2147483904" r:id="rId113"/>
    <p:sldLayoutId id="2147483905" r:id="rId114"/>
    <p:sldLayoutId id="2147483906" r:id="rId115"/>
    <p:sldLayoutId id="2147483907" r:id="rId116"/>
    <p:sldLayoutId id="2147483908" r:id="rId117"/>
    <p:sldLayoutId id="2147483909" r:id="rId118"/>
    <p:sldLayoutId id="2147483910" r:id="rId119"/>
    <p:sldLayoutId id="2147483911" r:id="rId120"/>
    <p:sldLayoutId id="2147483912" r:id="rId121"/>
    <p:sldLayoutId id="2147483913" r:id="rId122"/>
    <p:sldLayoutId id="2147483914" r:id="rId123"/>
    <p:sldLayoutId id="2147483915" r:id="rId124"/>
    <p:sldLayoutId id="2147483916" r:id="rId125"/>
    <p:sldLayoutId id="2147483917" r:id="rId126"/>
    <p:sldLayoutId id="2147483918" r:id="rId127"/>
    <p:sldLayoutId id="2147483919" r:id="rId128"/>
    <p:sldLayoutId id="2147483920" r:id="rId129"/>
    <p:sldLayoutId id="2147483921" r:id="rId130"/>
    <p:sldLayoutId id="2147483922" r:id="rId131"/>
    <p:sldLayoutId id="2147483923" r:id="rId132"/>
    <p:sldLayoutId id="2147483924" r:id="rId133"/>
    <p:sldLayoutId id="2147483925" r:id="rId134"/>
    <p:sldLayoutId id="2147483926" r:id="rId135"/>
    <p:sldLayoutId id="2147483927" r:id="rId136"/>
    <p:sldLayoutId id="2147483928" r:id="rId137"/>
    <p:sldLayoutId id="2147483929" r:id="rId138"/>
    <p:sldLayoutId id="2147483930" r:id="rId139"/>
    <p:sldLayoutId id="2147483931" r:id="rId140"/>
    <p:sldLayoutId id="2147483932" r:id="rId141"/>
    <p:sldLayoutId id="2147483933" r:id="rId142"/>
    <p:sldLayoutId id="2147483934" r:id="rId143"/>
    <p:sldLayoutId id="2147483935" r:id="rId144"/>
    <p:sldLayoutId id="2147483936" r:id="rId145"/>
    <p:sldLayoutId id="2147483937" r:id="rId146"/>
    <p:sldLayoutId id="2147483938" r:id="rId147"/>
    <p:sldLayoutId id="2147483939" r:id="rId148"/>
    <p:sldLayoutId id="2147483940" r:id="rId149"/>
    <p:sldLayoutId id="2147483941" r:id="rId150"/>
    <p:sldLayoutId id="2147483942" r:id="rId151"/>
    <p:sldLayoutId id="2147483943" r:id="rId152"/>
    <p:sldLayoutId id="2147483944" r:id="rId15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002060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•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002060"/>
        </a:buClr>
        <a:buFont typeface="Trebuchet MS" panose="020B0603020202020204" pitchFamily="34" charset="0"/>
        <a:buChar char="–"/>
        <a:defRPr lang="en-US" sz="1200" kern="120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kern="120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002060"/>
        </a:buClr>
        <a:buFont typeface="Arial" panose="020B0604020202020204" pitchFamily="34" charset="0"/>
        <a:buChar char="​"/>
        <a:defRPr lang="en-US" sz="1600" b="1" kern="120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002060"/>
        </a:buClr>
        <a:buFont typeface="Arial" panose="020B0604020202020204" pitchFamily="34" charset="0"/>
        <a:buChar char="•"/>
        <a:defRPr lang="en-US" sz="1600" kern="120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262626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002060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002060"/>
        </a:buClr>
        <a:buFont typeface="Arial" panose="020B0604020202020204" pitchFamily="34" charset="0"/>
        <a:buChar char="​"/>
        <a:defRPr lang="en-US" sz="2400" kern="1200" baseline="0" dirty="0">
          <a:solidFill>
            <a:srgbClr val="002060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448.xml"/><Relationship Id="rId6" Type="http://schemas.openxmlformats.org/officeDocument/2006/relationships/image" Target="../media/image24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78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49.xml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515557" y="4441151"/>
            <a:ext cx="8281260" cy="609398"/>
          </a:xfrm>
        </p:spPr>
        <p:txBody>
          <a:bodyPr vert="horz"/>
          <a:lstStyle/>
          <a:p>
            <a:r>
              <a:rPr lang="en-US" dirty="0"/>
              <a:t>Global Health Emergency Corp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021A104-8842-C81D-3FA4-09299ED3457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515557" y="5054479"/>
            <a:ext cx="7661524" cy="60939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Update for NPHI G20 side event, September 2024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endParaRPr lang="en-US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B22541-490D-4912-A885-77AB5FA824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77081" y="5870005"/>
            <a:ext cx="862316" cy="862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90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3483E-934F-7853-B1A5-A84709463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6690" y="1307939"/>
            <a:ext cx="3898832" cy="2654461"/>
          </a:xfrm>
        </p:spPr>
        <p:txBody>
          <a:bodyPr/>
          <a:lstStyle/>
          <a:p>
            <a:r>
              <a:rPr lang="en-US" dirty="0"/>
              <a:t>Key Interventions for the G20 Ministers to Consider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3CA436-CF7B-4BA3-A083-550CCE5C427F}"/>
              </a:ext>
            </a:extLst>
          </p:cNvPr>
          <p:cNvSpPr txBox="1"/>
          <p:nvPr/>
        </p:nvSpPr>
        <p:spPr>
          <a:xfrm>
            <a:off x="5176952" y="1662308"/>
            <a:ext cx="6094140" cy="347787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 lvl="1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A1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gree to act in solidarity against health emergencies and pandemics by applying the common GHEC framework and engaging NPHAs, in alignment with Brazil’s prioritization of collective health</a:t>
            </a: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A1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Prioritize equity in the production and distribution of pandemic countermeasures and in sharing of information and best practices through the IANPHI and GHEC leaders’ networks</a:t>
            </a:r>
          </a:p>
        </p:txBody>
      </p:sp>
    </p:spTree>
    <p:extLst>
      <p:ext uri="{BB962C8B-B14F-4D97-AF65-F5344CB8AC3E}">
        <p14:creationId xmlns:p14="http://schemas.microsoft.com/office/powerpoint/2010/main" val="906895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53483E-934F-7853-B1A5-A847094632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944" y="1307939"/>
            <a:ext cx="3648577" cy="2654461"/>
          </a:xfrm>
        </p:spPr>
        <p:txBody>
          <a:bodyPr/>
          <a:lstStyle/>
          <a:p>
            <a:r>
              <a:rPr lang="en-US" dirty="0"/>
              <a:t>IANPHI has been a major partner with WHO in developing the Global Health Emergency Corp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53CA436-CF7B-4BA3-A083-550CCE5C427F}"/>
              </a:ext>
            </a:extLst>
          </p:cNvPr>
          <p:cNvSpPr txBox="1"/>
          <p:nvPr/>
        </p:nvSpPr>
        <p:spPr>
          <a:xfrm>
            <a:off x="5459762" y="1500263"/>
            <a:ext cx="6094140" cy="2554545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 lvl="1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dirty="0">
                <a:solidFill>
                  <a:srgbClr val="000A1E"/>
                </a:solidFill>
                <a:latin typeface="Calibri" panose="020F0502020204030204" pitchFamily="34" charset="0"/>
              </a:rPr>
              <a:t>WHA launch – May 2023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A1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IANPHI webinar – Nov 2023</a:t>
            </a: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dirty="0">
                <a:solidFill>
                  <a:srgbClr val="000A1E"/>
                </a:solidFill>
                <a:latin typeface="Calibri" panose="020F0502020204030204" pitchFamily="34" charset="0"/>
              </a:rPr>
              <a:t>IANPHI Kigali side meeting – Feb 2024</a:t>
            </a: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742950" marR="0" lvl="1" indent="-285750" algn="l" defTabSz="914400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en-US" sz="2000" dirty="0">
                <a:solidFill>
                  <a:srgbClr val="000A1E"/>
                </a:solidFill>
                <a:latin typeface="Calibri" panose="020F0502020204030204" pitchFamily="34" charset="0"/>
              </a:rPr>
              <a:t>Consistent leadership from IANPHI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A1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0495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50">
        <p:fade/>
      </p:transition>
    </mc:Choice>
    <mc:Fallback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518E9ED-4C93-A786-67E5-202C0BD48C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1600" y="828182"/>
            <a:ext cx="10134600" cy="5383020"/>
          </a:xfrm>
          <a:prstGeom prst="rect">
            <a:avLst/>
          </a:prstGeo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A17909F5-7082-A50F-1B68-6FB9E34D4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10235"/>
          </a:xfrm>
        </p:spPr>
        <p:txBody>
          <a:bodyPr>
            <a:normAutofit/>
          </a:bodyPr>
          <a:lstStyle/>
          <a:p>
            <a:r>
              <a:rPr lang="en-US" sz="3200" dirty="0"/>
              <a:t>Wide variations in Covid-19 response measures</a:t>
            </a:r>
          </a:p>
        </p:txBody>
      </p:sp>
    </p:spTree>
    <p:extLst>
      <p:ext uri="{BB962C8B-B14F-4D97-AF65-F5344CB8AC3E}">
        <p14:creationId xmlns:p14="http://schemas.microsoft.com/office/powerpoint/2010/main" val="720943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BCE2250-8A6A-B550-809B-D0E40C63026E}"/>
              </a:ext>
            </a:extLst>
          </p:cNvPr>
          <p:cNvSpPr/>
          <p:nvPr/>
        </p:nvSpPr>
        <p:spPr>
          <a:xfrm>
            <a:off x="4846915" y="4387016"/>
            <a:ext cx="7000811" cy="1795752"/>
          </a:xfrm>
          <a:prstGeom prst="rect">
            <a:avLst/>
          </a:prstGeom>
          <a:solidFill>
            <a:schemeClr val="bg1"/>
          </a:solidFill>
          <a:ln w="9525" cap="rnd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68202FFE-080C-9207-4306-FDE7EA949E95}"/>
              </a:ext>
            </a:extLst>
          </p:cNvPr>
          <p:cNvSpPr txBox="1">
            <a:spLocks/>
          </p:cNvSpPr>
          <p:nvPr/>
        </p:nvSpPr>
        <p:spPr>
          <a:xfrm>
            <a:off x="438701" y="1537316"/>
            <a:ext cx="3452368" cy="8479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rgbClr val="00205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/>
              <a:t>Post Covid-19 recommendations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F2638AF-98C6-0C42-EF67-B5C289536C1A}"/>
              </a:ext>
            </a:extLst>
          </p:cNvPr>
          <p:cNvSpPr txBox="1"/>
          <p:nvPr/>
        </p:nvSpPr>
        <p:spPr>
          <a:xfrm>
            <a:off x="4846915" y="864309"/>
            <a:ext cx="7000810" cy="313290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b="1" dirty="0">
                <a:solidFill>
                  <a:srgbClr val="262626"/>
                </a:solidFill>
              </a:rPr>
              <a:t>Review of major recommendations </a:t>
            </a:r>
            <a:r>
              <a:rPr lang="en-US" dirty="0">
                <a:solidFill>
                  <a:srgbClr val="262626"/>
                </a:solidFill>
              </a:rPr>
              <a:t>from GPMB, IHR RC, IPPPR, IOAC, national coalition reviews, others, with a focus on workforce, leadership, and alert and response coordination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endParaRPr lang="en-US" sz="800" dirty="0">
              <a:solidFill>
                <a:srgbClr val="262626"/>
              </a:solidFill>
            </a:endParaRP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Early alert for timely action 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Ability to rapidly scale emergency response   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Multisectoral approach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National coordinators and leadership 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Regional coordination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Networking, partnership, and trust-building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Global coordination and the role of WHO</a:t>
            </a:r>
          </a:p>
          <a:p>
            <a:pPr marL="285725" indent="-285725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62626"/>
                </a:solidFill>
              </a:rPr>
              <a:t>Connected leade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74B9D7E-22E3-A0DC-4A65-C38F93FEF50B}"/>
              </a:ext>
            </a:extLst>
          </p:cNvPr>
          <p:cNvSpPr txBox="1"/>
          <p:nvPr/>
        </p:nvSpPr>
        <p:spPr>
          <a:xfrm>
            <a:off x="4787648" y="4277418"/>
            <a:ext cx="7110877" cy="1968855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b="1" dirty="0">
                <a:solidFill>
                  <a:srgbClr val="262626"/>
                </a:solidFill>
              </a:rPr>
              <a:t>From the Independent Panel (IPPPR)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“Current institutions, public and private, failed to protect people from a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devastating pandemic…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That is why the Panel is recommending a fundamental transformation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designed to ensure commitment at the highest level to a new system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that is coordinated, connected, fast-moving, accountable, just, and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equitable—in other words, a complete pandemic preparedness and</a:t>
            </a:r>
          </a:p>
          <a:p>
            <a:pPr algn="ctr"/>
            <a:r>
              <a:rPr lang="en-US" sz="1400" i="1" dirty="0">
                <a:solidFill>
                  <a:srgbClr val="262626"/>
                </a:solidFill>
              </a:rPr>
              <a:t>response system on which citizens can rely to keep them safe and healthy”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28191D9B-3A9B-C9DD-8032-059F812DFDFA}"/>
              </a:ext>
            </a:extLst>
          </p:cNvPr>
          <p:cNvGrpSpPr/>
          <p:nvPr/>
        </p:nvGrpSpPr>
        <p:grpSpPr>
          <a:xfrm>
            <a:off x="11433479" y="4175941"/>
            <a:ext cx="519816" cy="578997"/>
            <a:chOff x="1003300" y="2527300"/>
            <a:chExt cx="1019810" cy="101981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6F4F4CA9-0204-B972-73A6-1DCF98F728D0}"/>
                </a:ext>
              </a:extLst>
            </p:cNvPr>
            <p:cNvSpPr>
              <a:spLocks/>
            </p:cNvSpPr>
            <p:nvPr/>
          </p:nvSpPr>
          <p:spPr>
            <a:xfrm>
              <a:off x="1003300" y="2527300"/>
              <a:ext cx="1019810" cy="1019810"/>
            </a:xfrm>
            <a:prstGeom prst="ellipse">
              <a:avLst/>
            </a:prstGeom>
            <a:solidFill>
              <a:schemeClr val="lt1"/>
            </a:solidFill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39" tIns="45720" rIns="91439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>
                <a:solidFill>
                  <a:srgbClr val="FFFFFF"/>
                </a:solidFill>
              </a:endParaRPr>
            </a:p>
          </p:txBody>
        </p:sp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9E721FE5-C777-2457-D94B-2D3F86D1141E}"/>
                </a:ext>
              </a:extLst>
            </p:cNvPr>
            <p:cNvPicPr>
              <a:picLocks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03300" y="2527300"/>
              <a:ext cx="1019810" cy="1019810"/>
            </a:xfrm>
            <a:prstGeom prst="rect">
              <a:avLst/>
            </a:prstGeom>
          </p:spPr>
        </p:pic>
      </p:grpSp>
      <p:pic>
        <p:nvPicPr>
          <p:cNvPr id="12" name="Picture 11">
            <a:extLst>
              <a:ext uri="{FF2B5EF4-FFF2-40B4-BE49-F238E27FC236}">
                <a16:creationId xmlns:a16="http://schemas.microsoft.com/office/drawing/2014/main" id="{23969913-D592-303F-B4E7-E87C508CC284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824" y="2549313"/>
            <a:ext cx="2183459" cy="2205626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640BCC91-DC1E-46DA-BD68-33C07D7A6D4A}"/>
              </a:ext>
            </a:extLst>
          </p:cNvPr>
          <p:cNvCxnSpPr>
            <a:cxnSpLocks/>
          </p:cNvCxnSpPr>
          <p:nvPr/>
        </p:nvCxnSpPr>
        <p:spPr>
          <a:xfrm flipV="1">
            <a:off x="908584" y="4884399"/>
            <a:ext cx="2088699" cy="21641"/>
          </a:xfrm>
          <a:prstGeom prst="line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neSpecialityDiamond 70">
            <a:extLst>
              <a:ext uri="{FF2B5EF4-FFF2-40B4-BE49-F238E27FC236}">
                <a16:creationId xmlns:a16="http://schemas.microsoft.com/office/drawing/2014/main" id="{25A29306-F414-4DEF-9A9A-E18848A55338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 flipV="1">
            <a:off x="1905554" y="3997216"/>
            <a:ext cx="0" cy="887177"/>
          </a:xfrm>
          <a:prstGeom prst="straightConnector1">
            <a:avLst/>
          </a:prstGeom>
          <a:ln w="57150" cap="flat">
            <a:solidFill>
              <a:schemeClr val="bg1">
                <a:lumMod val="65000"/>
              </a:schemeClr>
            </a:solidFill>
            <a:miter lim="800000"/>
            <a:tailEnd type="diamond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9DC1A980-E134-4C3C-8683-9B34C11BE2C4}"/>
              </a:ext>
            </a:extLst>
          </p:cNvPr>
          <p:cNvSpPr txBox="1"/>
          <p:nvPr/>
        </p:nvSpPr>
        <p:spPr>
          <a:xfrm>
            <a:off x="575187" y="5035500"/>
            <a:ext cx="3315881" cy="9079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/>
            <a:r>
              <a:rPr lang="en-GB" sz="1800" b="1" dirty="0"/>
              <a:t>Health emergency workforce</a:t>
            </a:r>
          </a:p>
          <a:p>
            <a:pPr lvl="1"/>
            <a:r>
              <a:rPr lang="en-US" sz="1200" dirty="0"/>
              <a:t>National action plans for prevention, preparedness &amp; readiness</a:t>
            </a:r>
          </a:p>
          <a:p>
            <a:pPr lvl="1"/>
            <a:r>
              <a:rPr lang="en-GB" sz="1200" dirty="0"/>
              <a:t>Rapid alert &amp; response coordination</a:t>
            </a:r>
          </a:p>
        </p:txBody>
      </p:sp>
    </p:spTree>
    <p:extLst>
      <p:ext uri="{BB962C8B-B14F-4D97-AF65-F5344CB8AC3E}">
        <p14:creationId xmlns:p14="http://schemas.microsoft.com/office/powerpoint/2010/main" val="2106137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2432E73C-9690-E72E-8EDB-1F8C3C377173}"/>
              </a:ext>
            </a:extLst>
          </p:cNvPr>
          <p:cNvSpPr txBox="1"/>
          <p:nvPr/>
        </p:nvSpPr>
        <p:spPr>
          <a:xfrm>
            <a:off x="375084" y="1416753"/>
            <a:ext cx="7572414" cy="63094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Corps</a:t>
            </a: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 - A body of persons having a common activity or occupation. e.g., </a:t>
            </a:r>
            <a:r>
              <a:rPr kumimoji="0" lang="en-US" sz="160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the press corps</a:t>
            </a:r>
          </a:p>
          <a:p>
            <a:pPr lvl="1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defRPr/>
            </a:pPr>
            <a:r>
              <a:rPr lang="en-US" sz="1400" dirty="0">
                <a:solidFill>
                  <a:srgbClr val="002060"/>
                </a:solidFill>
                <a:latin typeface="Calibri" panose="020F0502020204030204"/>
                <a:sym typeface="Trebuchet MS" panose="020B0603020202020204" pitchFamily="34" charset="0"/>
              </a:rPr>
              <a:t>- Merriam-Webster dictionary</a:t>
            </a:r>
            <a:endParaRPr kumimoji="0" lang="en-US" sz="14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60BC8C-ED14-DAB4-C2AE-47C791A85DE9}"/>
              </a:ext>
            </a:extLst>
          </p:cNvPr>
          <p:cNvSpPr txBox="1">
            <a:spLocks/>
          </p:cNvSpPr>
          <p:nvPr/>
        </p:nvSpPr>
        <p:spPr>
          <a:xfrm>
            <a:off x="462632" y="513543"/>
            <a:ext cx="11329314" cy="4257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hangingPunct="0">
              <a:lnSpc>
                <a:spcPct val="9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sz="3200" b="1" dirty="0">
                <a:solidFill>
                  <a:srgbClr val="1F2854"/>
                </a:solidFill>
                <a:ea typeface="+mj-ea"/>
                <a:cs typeface="+mj-cs"/>
              </a:rPr>
              <a:t>Global Health Emergency Corps | Why “Corps”?</a:t>
            </a:r>
            <a:endParaRPr lang="en-US" sz="3200" dirty="0">
              <a:solidFill>
                <a:srgbClr val="1F2854"/>
              </a:solidFill>
              <a:ea typeface="+mj-ea"/>
              <a:cs typeface="+mj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81DA681-F213-4F18-AC50-E7D90B083A07}"/>
              </a:ext>
            </a:extLst>
          </p:cNvPr>
          <p:cNvSpPr txBox="1"/>
          <p:nvPr/>
        </p:nvSpPr>
        <p:spPr>
          <a:xfrm>
            <a:off x="462632" y="2597567"/>
            <a:ext cx="5431277" cy="218813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lnSpcReduction="10000"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600" b="1" dirty="0">
                <a:solidFill>
                  <a:srgbClr val="002060"/>
                </a:solidFill>
                <a:latin typeface="Calibri" panose="020F0502020204030204"/>
              </a:rPr>
              <a:t>Health Emergency Corps </a:t>
            </a:r>
          </a:p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sz="1600" dirty="0">
              <a:solidFill>
                <a:srgbClr val="002060"/>
              </a:solidFill>
              <a:latin typeface="Calibri" panose="020F0502020204030204"/>
            </a:endParaRP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600" dirty="0">
                <a:solidFill>
                  <a:srgbClr val="002060"/>
                </a:solidFill>
                <a:latin typeface="Calibri" panose="020F0502020204030204"/>
              </a:rPr>
              <a:t>A body </a:t>
            </a:r>
            <a:r>
              <a:rPr lang="en-US" sz="1700" dirty="0">
                <a:solidFill>
                  <a:srgbClr val="002060"/>
                </a:solidFill>
                <a:latin typeface="Calibri" panose="020F0502020204030204"/>
              </a:rPr>
              <a:t>of health emergency professionals in all countries with common training and standards who are globally connected and work together in times of international health crises to: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en-US" sz="1700" dirty="0">
                <a:solidFill>
                  <a:srgbClr val="002060"/>
                </a:solidFill>
                <a:latin typeface="Calibri" panose="020F0502020204030204"/>
              </a:rPr>
              <a:t>Strengthen responses to all health emergencies, and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Tx/>
              <a:buChar char="-"/>
            </a:pPr>
            <a:r>
              <a:rPr lang="en-US" sz="1700" dirty="0">
                <a:solidFill>
                  <a:srgbClr val="002060"/>
                </a:solidFill>
                <a:latin typeface="Calibri" panose="020F0502020204030204"/>
              </a:rPr>
              <a:t>Stop the next pandemic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67EFCF-FE42-4B89-BD3C-71C99D57141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0243" y="3173125"/>
            <a:ext cx="4397866" cy="322452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737ECA7-28FF-429C-BE5E-26EC73B67E4E}"/>
              </a:ext>
            </a:extLst>
          </p:cNvPr>
          <p:cNvSpPr txBox="1"/>
          <p:nvPr/>
        </p:nvSpPr>
        <p:spPr>
          <a:xfrm>
            <a:off x="6298093" y="2685116"/>
            <a:ext cx="8234464" cy="3416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sz="1800" b="1" dirty="0">
                <a:solidFill>
                  <a:srgbClr val="002060"/>
                </a:solidFill>
                <a:latin typeface="Calibri" panose="020F0502020204030204"/>
              </a:rPr>
              <a:t>Composed of: </a:t>
            </a:r>
          </a:p>
        </p:txBody>
      </p:sp>
    </p:spTree>
    <p:extLst>
      <p:ext uri="{BB962C8B-B14F-4D97-AF65-F5344CB8AC3E}">
        <p14:creationId xmlns:p14="http://schemas.microsoft.com/office/powerpoint/2010/main" val="1384139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5139525-96EB-A82B-F7E1-9D93AF1524B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2594" y="3163851"/>
            <a:ext cx="5008490" cy="295269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E6B5322-083E-E3F8-04C0-6DB9D7B6F8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381" y="1456391"/>
            <a:ext cx="3389382" cy="24851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432E73C-9690-E72E-8EDB-1F8C3C377173}"/>
              </a:ext>
            </a:extLst>
          </p:cNvPr>
          <p:cNvSpPr txBox="1"/>
          <p:nvPr/>
        </p:nvSpPr>
        <p:spPr>
          <a:xfrm>
            <a:off x="542760" y="2191109"/>
            <a:ext cx="232920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A health emergency workforce centered in countries…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3C2FDDE-0BF9-0FA8-0306-16286C0EE89E}"/>
              </a:ext>
            </a:extLst>
          </p:cNvPr>
          <p:cNvSpPr txBox="1"/>
          <p:nvPr/>
        </p:nvSpPr>
        <p:spPr>
          <a:xfrm>
            <a:off x="462632" y="4104957"/>
            <a:ext cx="5481363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ecisions on national response will always remain with each count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greatest single asset in health emergency response is the workforc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uilding capacity and coordination across the three levels will strengthen all health emergency responses.</a:t>
            </a:r>
            <a:endParaRPr lang="en-US" sz="16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60BC8C-ED14-DAB4-C2AE-47C791A85DE9}"/>
              </a:ext>
            </a:extLst>
          </p:cNvPr>
          <p:cNvSpPr txBox="1">
            <a:spLocks/>
          </p:cNvSpPr>
          <p:nvPr/>
        </p:nvSpPr>
        <p:spPr>
          <a:xfrm>
            <a:off x="462632" y="513543"/>
            <a:ext cx="11329314" cy="4257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hangingPunct="0">
              <a:lnSpc>
                <a:spcPct val="9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en-US" sz="3200" b="1" dirty="0">
                <a:solidFill>
                  <a:srgbClr val="1F2854"/>
                </a:solidFill>
                <a:ea typeface="+mj-ea"/>
                <a:cs typeface="+mj-cs"/>
              </a:rPr>
              <a:t>GHEC | </a:t>
            </a:r>
            <a:r>
              <a:rPr lang="en-US" sz="2000" b="1" dirty="0">
                <a:solidFill>
                  <a:srgbClr val="1F2854"/>
                </a:solidFill>
                <a:ea typeface="+mj-ea"/>
                <a:cs typeface="+mj-cs"/>
              </a:rPr>
              <a:t>Provides a framework for strengthening workforce capacities for health emergencies  </a:t>
            </a:r>
            <a:endParaRPr lang="en-US" sz="3200" dirty="0">
              <a:solidFill>
                <a:srgbClr val="1F2854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8282962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62F419E4-307D-52BB-4707-2DE9A91DF0CF}"/>
              </a:ext>
            </a:extLst>
          </p:cNvPr>
          <p:cNvSpPr txBox="1"/>
          <p:nvPr/>
        </p:nvSpPr>
        <p:spPr>
          <a:xfrm>
            <a:off x="215131" y="2165237"/>
            <a:ext cx="257999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Trebuchet MS" panose="020B0603020202020204" pitchFamily="34" charset="0"/>
              </a:rPr>
              <a:t>… and coordinated regionally and globally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EFA6B61-8F27-AFA8-1930-91BC92DC317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0690" y="1519085"/>
            <a:ext cx="5185213" cy="2916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C0983A8-D7AA-33B3-6FDA-E2A3A0028664}"/>
              </a:ext>
            </a:extLst>
          </p:cNvPr>
          <p:cNvSpPr txBox="1">
            <a:spLocks/>
          </p:cNvSpPr>
          <p:nvPr/>
        </p:nvSpPr>
        <p:spPr>
          <a:xfrm>
            <a:off x="462632" y="513543"/>
            <a:ext cx="11729368" cy="4257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3200" b="1" dirty="0">
                <a:solidFill>
                  <a:srgbClr val="1F2954"/>
                </a:solidFill>
                <a:latin typeface="SourceSansPro-Semibold"/>
                <a:ea typeface="+mj-ea"/>
                <a:cs typeface="+mj-cs"/>
              </a:rPr>
              <a:t>GHEC </a:t>
            </a:r>
            <a:r>
              <a:rPr lang="en-US" sz="3200" b="1" dirty="0">
                <a:solidFill>
                  <a:srgbClr val="1F2854"/>
                </a:solidFill>
                <a:ea typeface="+mj-ea"/>
                <a:cs typeface="+mj-cs"/>
              </a:rPr>
              <a:t>| </a:t>
            </a:r>
            <a:r>
              <a:rPr lang="en-US" sz="2000" b="1" dirty="0">
                <a:solidFill>
                  <a:srgbClr val="1F2854"/>
                </a:solidFill>
                <a:ea typeface="+mj-ea"/>
                <a:cs typeface="+mj-cs"/>
              </a:rPr>
              <a:t>Provides a collaboration and coordination platform for countries and health emergency networks 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918D1A-818A-2C3C-6739-6F26E4625C8A}"/>
              </a:ext>
            </a:extLst>
          </p:cNvPr>
          <p:cNvSpPr txBox="1"/>
          <p:nvPr/>
        </p:nvSpPr>
        <p:spPr>
          <a:xfrm>
            <a:off x="2580967" y="4834028"/>
            <a:ext cx="8819849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No country can stop a pandemic by acting alon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ordination in emergencies is most efficient with pre-established relationships and tru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trong models for collaboration exist but need to be better connected, interoperable and brought together in a coherent and complementary manner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14BD874-C718-ABF2-3F74-8BE57BFDC88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103575" y="1179128"/>
            <a:ext cx="3873294" cy="2310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46281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A6D5F80-18A9-4BFE-8ED0-D4BE9B926AF6}"/>
              </a:ext>
            </a:extLst>
          </p:cNvPr>
          <p:cNvSpPr txBox="1">
            <a:spLocks/>
          </p:cNvSpPr>
          <p:nvPr/>
        </p:nvSpPr>
        <p:spPr>
          <a:xfrm>
            <a:off x="462632" y="513543"/>
            <a:ext cx="11329314" cy="4257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3200" b="1" dirty="0">
                <a:solidFill>
                  <a:srgbClr val="1F2954"/>
                </a:solidFill>
                <a:latin typeface="SourceSansPro-Semibold"/>
                <a:ea typeface="+mj-ea"/>
                <a:cs typeface="+mj-cs"/>
              </a:rPr>
              <a:t>GHEC </a:t>
            </a:r>
            <a:r>
              <a:rPr lang="en-US" sz="3200" b="1" dirty="0">
                <a:solidFill>
                  <a:srgbClr val="1F2854"/>
                </a:solidFill>
                <a:ea typeface="+mj-ea"/>
                <a:cs typeface="+mj-cs"/>
              </a:rPr>
              <a:t>| Progress in 2024</a:t>
            </a:r>
            <a:endParaRPr lang="en-US" sz="3200" b="1" dirty="0">
              <a:solidFill>
                <a:srgbClr val="1F2954"/>
              </a:solidFill>
              <a:latin typeface="SourceSansPro-Semibold"/>
              <a:ea typeface="+mj-ea"/>
              <a:cs typeface="+mj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A65BB9A-E772-40D8-BF0E-6EBA7FF46740}"/>
              </a:ext>
            </a:extLst>
          </p:cNvPr>
          <p:cNvSpPr txBox="1"/>
          <p:nvPr/>
        </p:nvSpPr>
        <p:spPr>
          <a:xfrm>
            <a:off x="4365523" y="2448232"/>
            <a:ext cx="914400" cy="91440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rmAutofit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endParaRPr lang="en-US" b="1" u="sng" dirty="0">
              <a:solidFill>
                <a:srgbClr val="00B0F0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659D84-2F1C-4FAB-BF46-61D31B5C6AE3}"/>
              </a:ext>
            </a:extLst>
          </p:cNvPr>
          <p:cNvSpPr txBox="1"/>
          <p:nvPr/>
        </p:nvSpPr>
        <p:spPr>
          <a:xfrm>
            <a:off x="2694562" y="1081734"/>
            <a:ext cx="9387191" cy="5387703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fontScale="85000" lnSpcReduction="20000"/>
          </a:bodyPr>
          <a:lstStyle/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Strategic alignment and collaboration at global level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Establishment of the GHEC secretariat at WHO Headquarters and the maintenance of a global GHEC working group that includes 7 global health emergency networks and 6 WHO regional emergency leader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Initiation of a GHEC Design Group with country and network leaders to develop process for operationalizing the GHEC over time 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Supporting language included with broad endorsement in the draft article 7 of the Pandemic Accord; supporting language in IHR amendments 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Launch of a globally inclusive process to establish common guidance and benchmarks  for national rapid response capacities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002060"/>
              </a:solidFill>
              <a:latin typeface="Calibri" panose="020F0502020204030204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Acceptance and adaptation at regional level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Establishment of dedicated teams/ secretariats in each of the 6 WHO regional office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Adaptation of the GHEC framework to regional priorities and strategies: Joint Emergency Action Plan (A CDC-WHO); Asia Pacific Health Security Action Framework (APHSAF), South East Asia Health Emergency Workforce Strategy development, EURO Preparedness 2.0 strategy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endParaRPr lang="en-US" b="1" dirty="0">
              <a:solidFill>
                <a:srgbClr val="002060"/>
              </a:solidFill>
              <a:latin typeface="Calibri" panose="020F0502020204030204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Leadership and ownership at national level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Financial ask of approx. USD 318m of GHEC-related activities* were included in Pandemic Fund proposals </a:t>
            </a:r>
          </a:p>
          <a:p>
            <a:pPr marL="742950" lvl="1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002060"/>
                </a:solidFill>
                <a:latin typeface="Calibri" panose="020F0502020204030204"/>
              </a:rPr>
              <a:t>* activities corresponding to strengthening connected leadership, surge capacities and/or emergency workforce capacities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National level support to strengthening integration and interoperability of rapid response capacities at country level, with focus on Emergency Medical Teams and Public Health Rapid Response Teams (Ethiopia, April; planned: Uganda, Jordan, Egypt, Tajikistan)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Tabletop exercise on National Health Emergency Corps included in full-scale regional disaster response exercise in Central America (Costa Rica)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34AB6FF-B854-40F7-BD41-9BD6F4D3FA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0247" y="2783946"/>
            <a:ext cx="2385624" cy="17491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223131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3A6D5F80-18A9-4BFE-8ED0-D4BE9B926AF6}"/>
              </a:ext>
            </a:extLst>
          </p:cNvPr>
          <p:cNvSpPr txBox="1">
            <a:spLocks/>
          </p:cNvSpPr>
          <p:nvPr/>
        </p:nvSpPr>
        <p:spPr>
          <a:xfrm>
            <a:off x="462632" y="513543"/>
            <a:ext cx="11329314" cy="42574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>
              <a:buClr>
                <a:srgbClr val="000000"/>
              </a:buClr>
              <a:defRPr/>
            </a:pPr>
            <a:r>
              <a:rPr lang="en-US" sz="3200" b="1" dirty="0">
                <a:solidFill>
                  <a:srgbClr val="1F2954"/>
                </a:solidFill>
                <a:latin typeface="SourceSansPro-Semibold"/>
                <a:ea typeface="+mj-ea"/>
                <a:cs typeface="+mj-cs"/>
              </a:rPr>
              <a:t>GHEC </a:t>
            </a:r>
            <a:r>
              <a:rPr lang="en-US" sz="3200" b="1" dirty="0">
                <a:solidFill>
                  <a:srgbClr val="1F2854"/>
                </a:solidFill>
                <a:ea typeface="+mj-ea"/>
                <a:cs typeface="+mj-cs"/>
              </a:rPr>
              <a:t>| Outlook  </a:t>
            </a:r>
            <a:r>
              <a:rPr lang="en-US" sz="3200" b="1" dirty="0">
                <a:solidFill>
                  <a:srgbClr val="1F2954"/>
                </a:solidFill>
                <a:latin typeface="SourceSansPro-Semibold"/>
                <a:ea typeface="+mj-ea"/>
                <a:cs typeface="+mj-cs"/>
              </a:rPr>
              <a:t>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4659D84-2F1C-4FAB-BF46-61D31B5C6AE3}"/>
              </a:ext>
            </a:extLst>
          </p:cNvPr>
          <p:cNvSpPr txBox="1"/>
          <p:nvPr/>
        </p:nvSpPr>
        <p:spPr>
          <a:xfrm>
            <a:off x="6137016" y="2154515"/>
            <a:ext cx="5807412" cy="325876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rmAutofit fontScale="92500" lnSpcReduction="10000"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</a:rPr>
              <a:t>Demonstrating impact: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</a:rPr>
              <a:t>Multi-country pandemic response simulation exercise to practice and test key components of the GHEC with focus on emergency response at the national level, more effective surge responses, and a functioning network of leaders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2060"/>
              </a:solidFill>
              <a:latin typeface="Calibri" panose="020F0502020204030204"/>
            </a:endParaRP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Broadening country support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 </a:t>
            </a: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gain ownership by growing number of countries  </a:t>
            </a:r>
          </a:p>
          <a:p>
            <a:pPr marL="285750" indent="-28575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b="1" dirty="0">
              <a:solidFill>
                <a:srgbClr val="002060"/>
              </a:solidFill>
              <a:latin typeface="Calibri" panose="020F0502020204030204"/>
            </a:endParaRPr>
          </a:p>
          <a:p>
            <a:pPr algn="l">
              <a:lnSpc>
                <a:spcPct val="90000"/>
              </a:lnSpc>
              <a:spcAft>
                <a:spcPts val="600"/>
              </a:spcAft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</a:rPr>
              <a:t>Ensuring financing 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2060"/>
                </a:solidFill>
                <a:latin typeface="Calibri" panose="020F0502020204030204"/>
              </a:rPr>
              <a:t>Fundraising to follow on initial seed funding </a:t>
            </a:r>
          </a:p>
          <a:p>
            <a:pPr marL="285750" indent="-285750" algn="l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dirty="0">
              <a:solidFill>
                <a:srgbClr val="002060"/>
              </a:solidFill>
              <a:latin typeface="Calibri" panose="020F0502020204030204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F30DA6A-6980-4CAB-9175-0E7660DA18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224" y="2154515"/>
            <a:ext cx="5218411" cy="307645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7842350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8"/>
  <p:tag name="ARTICULATE_DESIGN_ID_WHE" val="V9GGs3hh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ineSpecialityDiamon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vert="horz" lIns="91440" tIns="45720" rIns="91440" bIns="45720" rtlCol="0" anchor="ctr">
        <a:normAutofit/>
      </a:bodyPr>
      <a:lstStyle>
        <a:defPPr algn="l">
          <a:lnSpc>
            <a:spcPct val="90000"/>
          </a:lnSpc>
          <a:spcAft>
            <a:spcPts val="600"/>
          </a:spcAft>
          <a:defRPr b="1" u="sng" dirty="0">
            <a:solidFill>
              <a:srgbClr val="00B0F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2060"/>
      </a:accent1>
      <a:accent2>
        <a:srgbClr val="31859C"/>
      </a:accent2>
      <a:accent3>
        <a:srgbClr val="29BA74"/>
      </a:accent3>
      <a:accent4>
        <a:srgbClr val="93CCDD"/>
      </a:accent4>
      <a:accent5>
        <a:srgbClr val="414145"/>
      </a:accent5>
      <a:accent6>
        <a:srgbClr val="30C1D7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2060"/>
        </a:accent1>
        <a:accent2>
          <a:srgbClr val="31859C"/>
        </a:accent2>
        <a:accent3>
          <a:srgbClr val="29BA74"/>
        </a:accent3>
        <a:accent4>
          <a:srgbClr val="93CCDD"/>
        </a:accent4>
        <a:accent5>
          <a:srgbClr val="414145"/>
        </a:accent5>
        <a:accent6>
          <a:srgbClr val="30C1D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E3558"/>
    </a:custClr>
    <a:custClr name="Custom Color7">
      <a:srgbClr val="670F31"/>
    </a:custClr>
    <a:custClr name="Custom Color8">
      <a:srgbClr val="E71C57"/>
    </a:custClr>
  </a:custClrLst>
  <a:extLst>
    <a:ext uri="{05A4C25C-085E-4340-85A3-A5531E510DB2}">
      <thm15:themeFamily xmlns:thm15="http://schemas.microsoft.com/office/thememl/2012/main" name="GV0436_OFF.potx" id="{D8D137ED-94D6-4674-906D-CBDC57C98381}" vid="{8A07C103-092E-423F-8DE7-DDC34C6E6CAA}"/>
    </a:ext>
  </a:extLst>
</a:theme>
</file>

<file path=ppt/theme/theme3.xml><?xml version="1.0" encoding="utf-8"?>
<a:theme xmlns:a="http://schemas.openxmlformats.org/drawingml/2006/main" name="World Health Organization HEPR Grid 16:9 - 18471">
  <a:themeElements>
    <a:clrScheme name="who">
      <a:dk1>
        <a:srgbClr val="262626"/>
      </a:dk1>
      <a:lt1>
        <a:sysClr val="window" lastClr="FFFFFF"/>
      </a:lt1>
      <a:dk2>
        <a:srgbClr val="002060"/>
      </a:dk2>
      <a:lt2>
        <a:srgbClr val="F2F2F2"/>
      </a:lt2>
      <a:accent1>
        <a:srgbClr val="000A1E"/>
      </a:accent1>
      <a:accent2>
        <a:srgbClr val="00133A"/>
      </a:accent2>
      <a:accent3>
        <a:srgbClr val="93CCDD"/>
      </a:accent3>
      <a:accent4>
        <a:srgbClr val="0070C0"/>
      </a:accent4>
      <a:accent5>
        <a:srgbClr val="414145"/>
      </a:accent5>
      <a:accent6>
        <a:srgbClr val="29BA74"/>
      </a:accent6>
      <a:hlink>
        <a:srgbClr val="30859C"/>
      </a:hlink>
      <a:folHlink>
        <a:srgbClr val="30C1D7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2060"/>
        </a:solidFill>
        <a:ln w="9525" cap="rnd" cmpd="sng" algn="ctr">
          <a:solidFill>
            <a:srgbClr val="002060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262626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3A0C26ED75B6F42858795A942B8A417" ma:contentTypeVersion="18" ma:contentTypeDescription="Crée un document." ma:contentTypeScope="" ma:versionID="d182f3109876402847789c0f9bf19ada">
  <xsd:schema xmlns:xsd="http://www.w3.org/2001/XMLSchema" xmlns:xs="http://www.w3.org/2001/XMLSchema" xmlns:p="http://schemas.microsoft.com/office/2006/metadata/properties" xmlns:ns2="edbc6619-208e-4139-904a-e28b829ed0c5" xmlns:ns3="7ec0f2c8-51f7-495d-a454-42413d559956" targetNamespace="http://schemas.microsoft.com/office/2006/metadata/properties" ma:root="true" ma:fieldsID="494e0b62db10ba8905d94693a82a3b61" ns2:_="" ns3:_="">
    <xsd:import namespace="edbc6619-208e-4139-904a-e28b829ed0c5"/>
    <xsd:import namespace="7ec0f2c8-51f7-495d-a454-42413d55995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bc6619-208e-4139-904a-e28b829ed0c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LengthInSeconds" ma:index="15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Balises d’images" ma:readOnly="false" ma:fieldId="{5cf76f15-5ced-4ddc-b409-7134ff3c332f}" ma:taxonomyMulti="true" ma:sspId="992fa3da-db31-45ba-92de-38f16e295a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c0f2c8-51f7-495d-a454-42413d5599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d0e3ae4-a038-4907-b63c-24631858edc7}" ma:internalName="TaxCatchAll" ma:showField="CatchAllData" ma:web="7ec0f2c8-51f7-495d-a454-42413d55995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ec0f2c8-51f7-495d-a454-42413d559956" xsi:nil="true"/>
    <lcf76f155ced4ddcb4097134ff3c332f xmlns="edbc6619-208e-4139-904a-e28b829ed0c5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9D6CD28C-DDB3-49DA-8ED1-4898BE038BD4}"/>
</file>

<file path=customXml/itemProps2.xml><?xml version="1.0" encoding="utf-8"?>
<ds:datastoreItem xmlns:ds="http://schemas.openxmlformats.org/officeDocument/2006/customXml" ds:itemID="{2350DA3F-FE47-49EC-9149-12F59676D1A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35E4285-A42E-4477-BACD-839674D390A7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f94a4242-da51-4b1d-bad4-07d006b730d3"/>
    <ds:schemaRef ds:uri="http://schemas.openxmlformats.org/package/2006/metadata/core-properties"/>
    <ds:schemaRef ds:uri="http://purl.org/dc/terms/"/>
    <ds:schemaRef ds:uri="http://schemas.microsoft.com/office/infopath/2007/PartnerControls"/>
    <ds:schemaRef ds:uri="bd879b36-96f5-4c4e-979a-9eb1cd712529"/>
    <ds:schemaRef ds:uri="http://www.w3.org/XML/1998/namespace"/>
    <ds:schemaRef ds:uri="http://purl.org/dc/dcmitype/"/>
    <ds:schemaRef ds:uri="2c9f4169-abdf-469c-abcb-8e4d9caa85be"/>
    <ds:schemaRef ds:uri="1d6c5bc8-fafe-4bff-ad69-c13da005db8f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915</TotalTime>
  <Words>817</Words>
  <Application>Microsoft Office PowerPoint</Application>
  <PresentationFormat>Widescreen</PresentationFormat>
  <Paragraphs>86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4" baseType="lpstr">
      <vt:lpstr>Arial</vt:lpstr>
      <vt:lpstr>Calibri</vt:lpstr>
      <vt:lpstr>Calibri Light</vt:lpstr>
      <vt:lpstr>Courier New</vt:lpstr>
      <vt:lpstr>Georgia</vt:lpstr>
      <vt:lpstr>Helvetica</vt:lpstr>
      <vt:lpstr>Segoe UI</vt:lpstr>
      <vt:lpstr>SourceSansPro-Semibold</vt:lpstr>
      <vt:lpstr>Trebuchet MS</vt:lpstr>
      <vt:lpstr>Wingdings</vt:lpstr>
      <vt:lpstr>2_Office Theme</vt:lpstr>
      <vt:lpstr>3_White</vt:lpstr>
      <vt:lpstr>World Health Organization HEPR Grid 16:9 - 18471</vt:lpstr>
      <vt:lpstr>think-cell Slide</vt:lpstr>
      <vt:lpstr>Global Health Emergency Corps</vt:lpstr>
      <vt:lpstr>IANPHI has been a major partner with WHO in developing the Global Health Emergency Corps</vt:lpstr>
      <vt:lpstr>Wide variations in Covid-19 response mea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Key Interventions for the G20 Ministers to Consider</vt:lpstr>
    </vt:vector>
  </TitlesOfParts>
  <LinksUpToDate>false</LinksUpToDate>
  <SharedDoc>false</SharedDoc>
  <HyperlinksChanged>false</HyperlinksChanged>
  <AppVersion>16.0000</AppVersion>
</Properties>
</file>

<file path=docProps/app0.xml><?xml version="1.0" encoding="utf-8"?>
<Properties xmlns="http://schemas.openxmlformats.org/officeDocument/2006/extended-properties" xmlns:vt="http://schemas.openxmlformats.org/officeDocument/2006/docPropsVTypes">
  <TotalTime>2</TotalTime>
  <Words>49</Words>
  <Application>Microsoft Office PowerPoint</Application>
  <PresentationFormat>On-screen Show (4:3)</PresentationFormat>
  <Paragraphs>15</Paragraphs>
  <Slides>4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Arial</vt:lpstr>
      <vt:lpstr>Calibri</vt:lpstr>
      <vt:lpstr>Office Theme</vt:lpstr>
      <vt:lpstr>Presentation Title</vt:lpstr>
      <vt:lpstr>Slide Title</vt:lpstr>
      <vt:lpstr>Section header</vt:lpstr>
      <vt:lpstr>Slide Title for Two-Conte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ARNIER, Sandra</dc:creator>
  <cp:lastModifiedBy>DOWELL, Scott, Ferris</cp:lastModifiedBy>
  <cp:revision>78</cp:revision>
  <dcterms:created xsi:type="dcterms:W3CDTF">2020-10-09T12:31:35Z</dcterms:created>
  <dcterms:modified xsi:type="dcterms:W3CDTF">2024-09-09T00:0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3A0C26ED75B6F42858795A942B8A417</vt:lpwstr>
  </property>
</Properties>
</file>